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</p:sldMasterIdLst>
  <p:notesMasterIdLst>
    <p:notesMasterId r:id="rId18"/>
  </p:notesMasterIdLst>
  <p:handoutMasterIdLst>
    <p:handoutMasterId r:id="rId19"/>
  </p:handoutMasterIdLst>
  <p:sldIdLst>
    <p:sldId id="259" r:id="rId4"/>
    <p:sldId id="302" r:id="rId5"/>
    <p:sldId id="273" r:id="rId6"/>
    <p:sldId id="274" r:id="rId7"/>
    <p:sldId id="258" r:id="rId8"/>
    <p:sldId id="256" r:id="rId9"/>
    <p:sldId id="261" r:id="rId10"/>
    <p:sldId id="264" r:id="rId11"/>
    <p:sldId id="266" r:id="rId12"/>
    <p:sldId id="262" r:id="rId13"/>
    <p:sldId id="267" r:id="rId14"/>
    <p:sldId id="265" r:id="rId15"/>
    <p:sldId id="260" r:id="rId16"/>
    <p:sldId id="304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0001"/>
    <a:srgbClr val="A20417"/>
    <a:srgbClr val="004019"/>
    <a:srgbClr val="007144"/>
    <a:srgbClr val="ED4255"/>
    <a:srgbClr val="C00000"/>
    <a:srgbClr val="E6E6E6"/>
    <a:srgbClr val="EDD0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8986" autoAdjust="0"/>
  </p:normalViewPr>
  <p:slideViewPr>
    <p:cSldViewPr snapToGrid="0">
      <p:cViewPr varScale="1">
        <p:scale>
          <a:sx n="69" d="100"/>
          <a:sy n="69" d="100"/>
        </p:scale>
        <p:origin x="115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2213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C300F56-4E29-05E8-F88E-85CDD890D4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217BF1-7108-A55E-0568-A0552181FE5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491B67-C17D-4D7E-B06F-C2A1BFC88F25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0EF3AB-3576-FC0D-26EA-A65AA7F7A5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B8C37B-E298-9BF5-3908-EEDDF16927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76DB13-6947-41A6-B503-87862099B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98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C5410C-ECD0-46CD-BFAC-12BBA7FED989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438B77-E4E2-497C-800B-6B3D6FE98A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356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oshuuu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@maxwbender?utm_source=unsplash&amp;utm_medium=referral&amp;utm_content=creditCopyText" TargetMode="External"/><Relationship Id="rId4" Type="http://schemas.openxmlformats.org/officeDocument/2006/relationships/hyperlink" Target="https://unsplash.com/s/photos/demonstration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charki95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nope?utm_source=unsplash&amp;utm_medium=referral&amp;utm_content=creditCopyText" TargetMode="External"/><Relationship Id="rId5" Type="http://schemas.openxmlformats.org/officeDocument/2006/relationships/hyperlink" Target="https://unsplash.com/@thomascpark?utm_source=unsplash&amp;utm_medium=referral&amp;utm_content=creditCopyText" TargetMode="External"/><Relationship Id="rId4" Type="http://schemas.openxmlformats.org/officeDocument/2006/relationships/hyperlink" Target="https://unsplash.com/s/photos/yes-or-no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oshuuu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@maxwbender?utm_source=unsplash&amp;utm_medium=referral&amp;utm_content=creditCopyText" TargetMode="External"/><Relationship Id="rId4" Type="http://schemas.openxmlformats.org/officeDocument/2006/relationships/hyperlink" Target="https://unsplash.com/s/photos/demonstration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charki95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nope?utm_source=unsplash&amp;utm_medium=referral&amp;utm_content=creditCopyText" TargetMode="External"/><Relationship Id="rId5" Type="http://schemas.openxmlformats.org/officeDocument/2006/relationships/hyperlink" Target="https://unsplash.com/@thomascpark?utm_source=unsplash&amp;utm_medium=referral&amp;utm_content=creditCopyText" TargetMode="External"/><Relationship Id="rId4" Type="http://schemas.openxmlformats.org/officeDocument/2006/relationships/hyperlink" Target="https://unsplash.com/s/photos/yes-or-no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5QgIuuBxKwM</a:t>
            </a:r>
          </a:p>
          <a:p>
            <a:endParaRPr lang="en-US" dirty="0"/>
          </a:p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asian-guy'&gt;Asian guy photo created by </a:t>
            </a:r>
            <a:r>
              <a:rPr lang="en-US" dirty="0" err="1"/>
              <a:t>benzoix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8407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freepik.com/free-photo/close-up-young-woman-with-white-manicure-raising-hand_12701544.htm#query=tumbs%20up&amp;position=4&amp;from_view=search#position=4&amp;query=tumbs%20up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Koshu</a:t>
            </a:r>
            <a:r>
              <a:rPr lang="en-US" dirty="0">
                <a:hlinkClick r:id="rId3"/>
              </a:rPr>
              <a:t> Kuni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r>
              <a:rPr lang="en-US" dirty="0" err="1"/>
              <a:t>tos</a:t>
            </a:r>
            <a:r>
              <a:rPr lang="en-US" dirty="0"/>
              <a:t> Library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Max Bend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640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www.freepik.com/free-photo/portrait-girl-pointing-upper-right-corner-curving-lower-lip-casual-shirt-looking-disappointed_17523268.htm?query=thumbs%20down&amp;from_query=tumbs+dow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4367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61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hCb3lIB8L8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268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ziz </a:t>
            </a:r>
            <a:r>
              <a:rPr lang="en-US" dirty="0" err="1">
                <a:hlinkClick r:id="rId3"/>
              </a:rPr>
              <a:t>Achark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Thomas Park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r>
              <a:rPr lang="en-US" dirty="0"/>
              <a:t>https://unsplash.com/photos/LDcC7aCWVl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569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rosoft Pho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Koshu</a:t>
            </a:r>
            <a:r>
              <a:rPr lang="en-US" dirty="0">
                <a:hlinkClick r:id="rId3"/>
              </a:rPr>
              <a:t> Kuni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r>
              <a:rPr lang="en-US" dirty="0" err="1"/>
              <a:t>tos</a:t>
            </a:r>
            <a:r>
              <a:rPr lang="en-US" dirty="0"/>
              <a:t> Library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Max Bend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268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www.freepik.com/free-photo/image-confident-asian-woman-showing-thumb-up-approval-recommending-like-smth-good-standing-white-background_23457844.htm?query=%20tumbs%20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7087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freepik.com/free-photo/thoughtful-businesswoman-glasses-suit-showing-thumbs-up-down-thinking-about-something-making-decision-weighing-pros-cons-white_19982856.htm#query=women%20pros&amp;position=0&amp;from_view=se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Aziz </a:t>
            </a:r>
            <a:r>
              <a:rPr lang="en-US" dirty="0" err="1">
                <a:hlinkClick r:id="rId3"/>
              </a:rPr>
              <a:t>Achark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Thomas Park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12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freepik.com/free-photo/have-any-problem-questioned-bothered-attractive-confident-young-caucasian-curly-haired-woman-shrugging-dismay-unsure-holding-smartphone-hands-spread-sideways-cannot-understand-what-person-want_17613343.htm?query=women%20confus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unsplash.com/photos/hCb3lIB8L8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438B77-E4E2-497C-800B-6B3D6FE98A5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098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F8A9E-DF39-357E-7213-005ECB1F21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5EE8D9-8B83-E703-D3C6-A429BA3EBB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AAF5DB-7DA1-DB08-4964-D6F7676AD6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0FE174-F885-AA52-A9D9-2D2FE4320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866F44-C3DC-7BCA-EC1A-5F8617747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536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06EF7-8510-D5F4-8FB3-E29BE7AE2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DEA008-21D0-488E-1D86-994E07E1F7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0F266-6175-77A2-66D9-36A78269E6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9FF121-92C0-86EF-11D1-9CF58D7F8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3C8F7D-6758-69D7-3DB0-3D6686696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355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1E6F079-F3B9-3C50-F4B4-BB4C1112CDA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442718-FEE1-90BC-4D16-3F839A4C7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84061F-DA80-3AF3-B388-0DE55FDA17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C965C2-C545-D73C-E21A-81BCF516E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76811-2930-FA1E-5CDD-7EB032FC6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005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82535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05407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254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10543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44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43937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586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54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BBD67-59E0-7D21-8C6B-AEA2A4D1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3FBC5F-36F0-7E53-EFD9-C096960AD2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437B70-6724-3649-C88C-91CE405C3A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095EA2-C456-9E5B-28C2-49AF681C2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2FB74A-C496-FF9F-4C0B-162F9E4EE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562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7199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7606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68417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879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39030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465353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70731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43142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96399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59632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83872-65FE-18F2-7C95-7198696C1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0E4E8-4F69-420A-F1F8-6EE4C125DC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BC89C0-E756-C182-0235-7F7F7A64E7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8CE46-1ACE-ACB8-905A-41318FC6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8F37C-A33D-F5A7-1D75-F6833E259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638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21456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779050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663813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03058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3195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5FDEE-C941-8EEC-919D-EB97EE331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809F6-1FB6-17D1-2258-8332522EF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6A5F40-CC84-3294-1FA3-51600B176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C3DA0F-C411-A7D0-6A5A-5A58D932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440192-93E1-B954-1B54-CCDB1DD2C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75420D-0F42-95D7-D360-C55667D73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23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F7CF8-CC8C-ED8E-18D5-799D8A4E0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1348B8-2667-0D1E-6826-328FB8322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C1E731-ACD1-4431-095A-ACF8A8476F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6E9710-CF3C-A76E-3BCD-50F4938CA2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A1A84E-2A8E-A754-7166-76125CA8DF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7C4949-221E-C2B6-725C-6D4A2EA0DB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3B7CB5-7E10-2309-4EB8-DC6C9424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DB4137-5FBB-AF53-651C-50FD6CA1A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432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C126-52C1-7259-D0AA-101CFBCC5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1918D-F2A9-86E2-F66C-FF88707068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40B0B6-A3DC-2777-9717-614B7ACFE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97D35D-90D3-A5AC-66F9-449F884E4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21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6E0091-17E5-4E97-887D-585822BEA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06AA0F-6E17-94A3-0C29-C2796422D5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3C7AD2-C544-2963-CCCA-82AE0100D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333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10F7B-6F4F-61AC-5CBE-A9E1264BE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B22434-5929-297F-73A4-0B4ED310F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1E1C8C-31A2-4BD2-3151-0868F05535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3E1B3C-FDA1-AC19-06C8-ADF658F5D6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015C0F-92AA-11FE-95EE-883A9E7B6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E71FAC-587B-FFF3-C3EB-6D663983C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0E00D-6E70-D4D4-CFD5-702D4A3B2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E73792-CF8C-8743-8941-0EFBF75636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C9F19-02EE-D4ED-63D7-5DBE593867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17DE87-9AF9-A2EA-437F-BC0205D994C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083862-5B64-41F4-9FF8-FA7BF653D298}" type="datetimeFigureOut">
              <a:rPr lang="en-US" smtClean="0"/>
              <a:t>5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18C91-3F87-545D-5B00-63B841090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4AE3AF-713A-3A4F-1B6A-26EA5070B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51EBB-C49B-430B-9DFD-4FF705AB17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289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07CE54-F728-340B-58F7-8D90A03E5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ABC3B6-2BAC-ED8F-DC03-60F985F0BA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87BBAE-2EF5-44F9-6B29-6AE09513E907}"/>
              </a:ext>
            </a:extLst>
          </p:cNvPr>
          <p:cNvSpPr/>
          <p:nvPr userDrawn="1"/>
        </p:nvSpPr>
        <p:spPr>
          <a:xfrm>
            <a:off x="515938" y="6151070"/>
            <a:ext cx="10942637" cy="3678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rgbClr val="00714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rgbClr val="A2041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23686D-5273-C93D-6BD3-4C60B5E76F35}"/>
              </a:ext>
            </a:extLst>
          </p:cNvPr>
          <p:cNvGrpSpPr/>
          <p:nvPr userDrawn="1"/>
        </p:nvGrpSpPr>
        <p:grpSpPr>
          <a:xfrm rot="1800000">
            <a:off x="11149393" y="6041142"/>
            <a:ext cx="594932" cy="587718"/>
            <a:chOff x="11149393" y="6041142"/>
            <a:chExt cx="594932" cy="587718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EA934B9-ED8A-F601-DAE4-DFC338851574}"/>
                </a:ext>
              </a:extLst>
            </p:cNvPr>
            <p:cNvSpPr/>
            <p:nvPr/>
          </p:nvSpPr>
          <p:spPr>
            <a:xfrm>
              <a:off x="11149393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70ADFE1-DAD6-68BF-2BA8-ACCB34B3546E}"/>
                </a:ext>
              </a:extLst>
            </p:cNvPr>
            <p:cNvSpPr/>
            <p:nvPr/>
          </p:nvSpPr>
          <p:spPr>
            <a:xfrm flipH="1">
              <a:off x="11482609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D5EEB2CA-713E-3FE0-9F00-8A05142D26E2}"/>
              </a:ext>
            </a:extLst>
          </p:cNvPr>
          <p:cNvSpPr/>
          <p:nvPr userDrawn="1"/>
        </p:nvSpPr>
        <p:spPr>
          <a:xfrm>
            <a:off x="11238493" y="6126637"/>
            <a:ext cx="416733" cy="4167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153E43C-3D68-727B-5558-5D137366C5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8018" y="6126638"/>
            <a:ext cx="416734" cy="39229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6CE081D-19B6-D30A-8486-8CB20E6A3E80}"/>
              </a:ext>
            </a:extLst>
          </p:cNvPr>
          <p:cNvCxnSpPr>
            <a:cxnSpLocks/>
          </p:cNvCxnSpPr>
          <p:nvPr userDrawn="1"/>
        </p:nvCxnSpPr>
        <p:spPr>
          <a:xfrm>
            <a:off x="2133600" y="6335001"/>
            <a:ext cx="8908716" cy="0"/>
          </a:xfrm>
          <a:prstGeom prst="line">
            <a:avLst/>
          </a:prstGeom>
          <a:ln>
            <a:gradFill flip="none" rotWithShape="1">
              <a:gsLst>
                <a:gs pos="0">
                  <a:srgbClr val="007144"/>
                </a:gs>
                <a:gs pos="100000">
                  <a:srgbClr val="A20417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5151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orient="horz" pos="34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5988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80320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30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19639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jpe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microsoft.com/office/2007/relationships/hdphoto" Target="../media/hdphoto4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5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56.jpeg"/><Relationship Id="rId7" Type="http://schemas.openxmlformats.org/officeDocument/2006/relationships/image" Target="../media/image60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microsoft.com/office/2007/relationships/hdphoto" Target="../media/hdphoto1.wdp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1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emf"/><Relationship Id="rId11" Type="http://schemas.openxmlformats.org/officeDocument/2006/relationships/image" Target="../media/image29.emf"/><Relationship Id="rId5" Type="http://schemas.openxmlformats.org/officeDocument/2006/relationships/image" Target="../media/image23.emf"/><Relationship Id="rId15" Type="http://schemas.openxmlformats.org/officeDocument/2006/relationships/image" Target="../media/image32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1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jpeg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97AFE74-247B-3A8A-2BA1-8FFA1F72A2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6" descr="black smartphone near person">
            <a:extLst>
              <a:ext uri="{FF2B5EF4-FFF2-40B4-BE49-F238E27FC236}">
                <a16:creationId xmlns:a16="http://schemas.microsoft.com/office/drawing/2014/main" id="{41D0A450-0E0D-CC46-A8E8-F647A9CA58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588E9887-7A06-0DEA-54E6-E6CD07EBF87B}"/>
              </a:ext>
            </a:extLst>
          </p:cNvPr>
          <p:cNvSpPr/>
          <p:nvPr/>
        </p:nvSpPr>
        <p:spPr>
          <a:xfrm>
            <a:off x="7333957" y="1239520"/>
            <a:ext cx="914400" cy="914400"/>
          </a:xfrm>
          <a:prstGeom prst="rtTriangle">
            <a:avLst/>
          </a:prstGeom>
          <a:solidFill>
            <a:srgbClr val="0040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black smartphone near person">
            <a:extLst>
              <a:ext uri="{FF2B5EF4-FFF2-40B4-BE49-F238E27FC236}">
                <a16:creationId xmlns:a16="http://schemas.microsoft.com/office/drawing/2014/main" id="{7E8FF7BC-29B7-2A9A-ED64-91811C4324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81" y="773722"/>
            <a:ext cx="10652760" cy="5205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: Single Corner Snipped 21">
            <a:extLst>
              <a:ext uri="{FF2B5EF4-FFF2-40B4-BE49-F238E27FC236}">
                <a16:creationId xmlns:a16="http://schemas.microsoft.com/office/drawing/2014/main" id="{DE0BC180-3E04-8F6B-7455-4AB03D3BBD56}"/>
              </a:ext>
            </a:extLst>
          </p:cNvPr>
          <p:cNvSpPr/>
          <p:nvPr/>
        </p:nvSpPr>
        <p:spPr>
          <a:xfrm>
            <a:off x="0" y="773723"/>
            <a:ext cx="10698480" cy="5205048"/>
          </a:xfrm>
          <a:prstGeom prst="snip1Rect">
            <a:avLst>
              <a:gd name="adj" fmla="val 14154"/>
            </a:avLst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33000">
                <a:schemeClr val="bg1">
                  <a:alpha val="74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C3BCE836-FAE6-BC5D-4168-73A9C46A6D51}"/>
              </a:ext>
            </a:extLst>
          </p:cNvPr>
          <p:cNvSpPr/>
          <p:nvPr/>
        </p:nvSpPr>
        <p:spPr>
          <a:xfrm>
            <a:off x="1" y="1693985"/>
            <a:ext cx="10657840" cy="3470030"/>
          </a:xfrm>
          <a:prstGeom prst="snip2DiagRect">
            <a:avLst/>
          </a:prstGeom>
          <a:gradFill>
            <a:gsLst>
              <a:gs pos="40000">
                <a:srgbClr val="A20417">
                  <a:alpha val="89000"/>
                </a:srgbClr>
              </a:gs>
              <a:gs pos="100000">
                <a:srgbClr val="ED4255">
                  <a:alpha val="8600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E2D7A-A9E8-2426-0FFF-5120ADC35B60}"/>
              </a:ext>
            </a:extLst>
          </p:cNvPr>
          <p:cNvSpPr txBox="1"/>
          <p:nvPr/>
        </p:nvSpPr>
        <p:spPr>
          <a:xfrm>
            <a:off x="735638" y="2991507"/>
            <a:ext cx="533748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bg1"/>
                </a:solidFill>
                <a:latin typeface="+mj-lt"/>
              </a:rPr>
              <a:t>PROS &amp; CONS</a:t>
            </a:r>
          </a:p>
        </p:txBody>
      </p:sp>
      <p:sp>
        <p:nvSpPr>
          <p:cNvPr id="20" name="Flowchart: Manual Input 19">
            <a:extLst>
              <a:ext uri="{FF2B5EF4-FFF2-40B4-BE49-F238E27FC236}">
                <a16:creationId xmlns:a16="http://schemas.microsoft.com/office/drawing/2014/main" id="{AEFC0B14-0443-4AB9-D448-40064CC1BCF9}"/>
              </a:ext>
            </a:extLst>
          </p:cNvPr>
          <p:cNvSpPr/>
          <p:nvPr/>
        </p:nvSpPr>
        <p:spPr>
          <a:xfrm rot="16200000">
            <a:off x="6967145" y="1842592"/>
            <a:ext cx="4298227" cy="30831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974 h 10974"/>
              <a:gd name="connsiteX1" fmla="*/ 9953 w 10000"/>
              <a:gd name="connsiteY1" fmla="*/ 0 h 10974"/>
              <a:gd name="connsiteX2" fmla="*/ 10000 w 10000"/>
              <a:gd name="connsiteY2" fmla="*/ 10974 h 10974"/>
              <a:gd name="connsiteX3" fmla="*/ 0 w 10000"/>
              <a:gd name="connsiteY3" fmla="*/ 10974 h 10974"/>
              <a:gd name="connsiteX4" fmla="*/ 0 w 10000"/>
              <a:gd name="connsiteY4" fmla="*/ 2974 h 10974"/>
              <a:gd name="connsiteX0" fmla="*/ 0 w 10004"/>
              <a:gd name="connsiteY0" fmla="*/ 3498 h 11498"/>
              <a:gd name="connsiteX1" fmla="*/ 10000 w 10004"/>
              <a:gd name="connsiteY1" fmla="*/ 0 h 11498"/>
              <a:gd name="connsiteX2" fmla="*/ 10000 w 10004"/>
              <a:gd name="connsiteY2" fmla="*/ 11498 h 11498"/>
              <a:gd name="connsiteX3" fmla="*/ 0 w 10004"/>
              <a:gd name="connsiteY3" fmla="*/ 11498 h 11498"/>
              <a:gd name="connsiteX4" fmla="*/ 0 w 10004"/>
              <a:gd name="connsiteY4" fmla="*/ 3498 h 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4" h="11498">
                <a:moveTo>
                  <a:pt x="0" y="3498"/>
                </a:moveTo>
                <a:lnTo>
                  <a:pt x="10000" y="0"/>
                </a:lnTo>
                <a:cubicBezTo>
                  <a:pt x="10016" y="3658"/>
                  <a:pt x="9984" y="7840"/>
                  <a:pt x="10000" y="11498"/>
                </a:cubicBezTo>
                <a:lnTo>
                  <a:pt x="0" y="11498"/>
                </a:lnTo>
                <a:lnTo>
                  <a:pt x="0" y="3498"/>
                </a:lnTo>
                <a:close/>
              </a:path>
            </a:pathLst>
          </a:cu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A19886A-92C1-857A-F596-6813BFCB62A3}"/>
              </a:ext>
            </a:extLst>
          </p:cNvPr>
          <p:cNvCxnSpPr>
            <a:cxnSpLocks/>
          </p:cNvCxnSpPr>
          <p:nvPr/>
        </p:nvCxnSpPr>
        <p:spPr>
          <a:xfrm>
            <a:off x="914400" y="4668129"/>
            <a:ext cx="7460566" cy="0"/>
          </a:xfrm>
          <a:prstGeom prst="line">
            <a:avLst/>
          </a:prstGeom>
          <a:ln>
            <a:solidFill>
              <a:schemeClr val="bg1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A5789FBA-B096-3460-DA45-4EEE80E75C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2073" y="-30494"/>
            <a:ext cx="4759927" cy="6903734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BE734DA-4FEB-3EA0-D4BE-CAFC7272AE13}"/>
              </a:ext>
            </a:extLst>
          </p:cNvPr>
          <p:cNvSpPr/>
          <p:nvPr/>
        </p:nvSpPr>
        <p:spPr>
          <a:xfrm>
            <a:off x="711990" y="1996440"/>
            <a:ext cx="3429000" cy="838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2" name="Picture 8" descr="Profil 24slides &amp; Info Karir 2022 | Glints">
            <a:extLst>
              <a:ext uri="{FF2B5EF4-FFF2-40B4-BE49-F238E27FC236}">
                <a16:creationId xmlns:a16="http://schemas.microsoft.com/office/drawing/2014/main" id="{5D7F8B6C-F593-3EEA-F43B-FF2893303B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3050" y="2153920"/>
            <a:ext cx="1706880" cy="523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891E4A94-F72A-219A-3627-B539D0C7073D}"/>
              </a:ext>
            </a:extLst>
          </p:cNvPr>
          <p:cNvSpPr/>
          <p:nvPr/>
        </p:nvSpPr>
        <p:spPr>
          <a:xfrm>
            <a:off x="7507715" y="5632692"/>
            <a:ext cx="667537" cy="667537"/>
          </a:xfrm>
          <a:prstGeom prst="ellipse">
            <a:avLst/>
          </a:prstGeom>
          <a:solidFill>
            <a:srgbClr val="00714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phic 36" descr="Thumbs up sign outline">
            <a:extLst>
              <a:ext uri="{FF2B5EF4-FFF2-40B4-BE49-F238E27FC236}">
                <a16:creationId xmlns:a16="http://schemas.microsoft.com/office/drawing/2014/main" id="{CAAE0B05-49FB-0BA5-6929-186DAE8592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37712" y="5762689"/>
            <a:ext cx="407544" cy="407544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4F0C3DED-CCBB-EAD4-A234-50173D6B40D5}"/>
              </a:ext>
            </a:extLst>
          </p:cNvPr>
          <p:cNvSpPr/>
          <p:nvPr/>
        </p:nvSpPr>
        <p:spPr>
          <a:xfrm>
            <a:off x="8238228" y="5632692"/>
            <a:ext cx="667537" cy="667537"/>
          </a:xfrm>
          <a:prstGeom prst="ellipse">
            <a:avLst/>
          </a:prstGeom>
          <a:solidFill>
            <a:srgbClr val="ED4255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9" name="Graphic 38" descr="Thumbs Down outline">
            <a:extLst>
              <a:ext uri="{FF2B5EF4-FFF2-40B4-BE49-F238E27FC236}">
                <a16:creationId xmlns:a16="http://schemas.microsoft.com/office/drawing/2014/main" id="{7C9F2D25-A48C-DB7C-5759-AB3E831B85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68224" y="5762689"/>
            <a:ext cx="407544" cy="407544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1B6B3032-5A1F-1BA7-3A9D-475284B101A0}"/>
              </a:ext>
            </a:extLst>
          </p:cNvPr>
          <p:cNvSpPr txBox="1"/>
          <p:nvPr/>
        </p:nvSpPr>
        <p:spPr>
          <a:xfrm>
            <a:off x="914400" y="4038600"/>
            <a:ext cx="26193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wer 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82315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>
            <a:extLst>
              <a:ext uri="{FF2B5EF4-FFF2-40B4-BE49-F238E27FC236}">
                <a16:creationId xmlns:a16="http://schemas.microsoft.com/office/drawing/2014/main" id="{9C0E2105-2EBE-F343-EC48-6CB2BE0E3C59}"/>
              </a:ext>
            </a:extLst>
          </p:cNvPr>
          <p:cNvSpPr/>
          <p:nvPr/>
        </p:nvSpPr>
        <p:spPr>
          <a:xfrm>
            <a:off x="515937" y="1048508"/>
            <a:ext cx="5585318" cy="499361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10800000" algn="r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D91173C4-77F1-83D2-7102-1FAABCB84489}"/>
              </a:ext>
            </a:extLst>
          </p:cNvPr>
          <p:cNvSpPr/>
          <p:nvPr/>
        </p:nvSpPr>
        <p:spPr>
          <a:xfrm>
            <a:off x="6101255" y="1048508"/>
            <a:ext cx="5585318" cy="499361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10800000" algn="r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53" name="Picture 352" descr="sittin people beside table inside room">
            <a:extLst>
              <a:ext uri="{FF2B5EF4-FFF2-40B4-BE49-F238E27FC236}">
                <a16:creationId xmlns:a16="http://schemas.microsoft.com/office/drawing/2014/main" id="{1EEEB124-3072-74D8-DFBC-BE0973A6F3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lum bright="70000" contrast="-70000"/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01255" y="1048508"/>
            <a:ext cx="5585318" cy="4993610"/>
          </a:xfrm>
          <a:custGeom>
            <a:avLst/>
            <a:gdLst>
              <a:gd name="connsiteX0" fmla="*/ 0 w 5585318"/>
              <a:gd name="connsiteY0" fmla="*/ 0 h 4693920"/>
              <a:gd name="connsiteX1" fmla="*/ 5585318 w 5585318"/>
              <a:gd name="connsiteY1" fmla="*/ 0 h 4693920"/>
              <a:gd name="connsiteX2" fmla="*/ 5585318 w 5585318"/>
              <a:gd name="connsiteY2" fmla="*/ 4693920 h 4693920"/>
              <a:gd name="connsiteX3" fmla="*/ 0 w 5585318"/>
              <a:gd name="connsiteY3" fmla="*/ 4693920 h 469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5318" h="4693920">
                <a:moveTo>
                  <a:pt x="0" y="0"/>
                </a:moveTo>
                <a:lnTo>
                  <a:pt x="5585318" y="0"/>
                </a:lnTo>
                <a:lnTo>
                  <a:pt x="5585318" y="4693920"/>
                </a:lnTo>
                <a:lnTo>
                  <a:pt x="0" y="469392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2" name="Picture 351" descr="sittin people beside table inside room">
            <a:extLst>
              <a:ext uri="{FF2B5EF4-FFF2-40B4-BE49-F238E27FC236}">
                <a16:creationId xmlns:a16="http://schemas.microsoft.com/office/drawing/2014/main" id="{1F275FE5-30FD-EBCA-83FB-F50C5682D3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lum bright="70000" contrast="-70000"/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5937" y="1048508"/>
            <a:ext cx="5585318" cy="4993610"/>
          </a:xfrm>
          <a:custGeom>
            <a:avLst/>
            <a:gdLst>
              <a:gd name="connsiteX0" fmla="*/ 0 w 5585318"/>
              <a:gd name="connsiteY0" fmla="*/ 0 h 4693920"/>
              <a:gd name="connsiteX1" fmla="*/ 5585318 w 5585318"/>
              <a:gd name="connsiteY1" fmla="*/ 0 h 4693920"/>
              <a:gd name="connsiteX2" fmla="*/ 5585318 w 5585318"/>
              <a:gd name="connsiteY2" fmla="*/ 4693920 h 4693920"/>
              <a:gd name="connsiteX3" fmla="*/ 0 w 5585318"/>
              <a:gd name="connsiteY3" fmla="*/ 4693920 h 469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5318" h="4693920">
                <a:moveTo>
                  <a:pt x="0" y="0"/>
                </a:moveTo>
                <a:lnTo>
                  <a:pt x="5585318" y="0"/>
                </a:lnTo>
                <a:lnTo>
                  <a:pt x="5585318" y="4693920"/>
                </a:lnTo>
                <a:lnTo>
                  <a:pt x="0" y="469392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" name="Slide Number Placeholder 3">
            <a:extLst>
              <a:ext uri="{FF2B5EF4-FFF2-40B4-BE49-F238E27FC236}">
                <a16:creationId xmlns:a16="http://schemas.microsoft.com/office/drawing/2014/main" id="{37DD1206-012B-B305-A850-41FAFA5A9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10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7BD16C-E8EA-7CCD-4145-69D73E9425AB}"/>
              </a:ext>
            </a:extLst>
          </p:cNvPr>
          <p:cNvGrpSpPr/>
          <p:nvPr/>
        </p:nvGrpSpPr>
        <p:grpSpPr>
          <a:xfrm>
            <a:off x="3537169" y="549275"/>
            <a:ext cx="5117662" cy="1043348"/>
            <a:chOff x="3620665" y="828288"/>
            <a:chExt cx="5117662" cy="1043348"/>
          </a:xfrm>
        </p:grpSpPr>
        <p:sp>
          <p:nvSpPr>
            <p:cNvPr id="14" name="Rectangle: Top Corners Rounded 13">
              <a:extLst>
                <a:ext uri="{FF2B5EF4-FFF2-40B4-BE49-F238E27FC236}">
                  <a16:creationId xmlns:a16="http://schemas.microsoft.com/office/drawing/2014/main" id="{5358EFF7-F03F-1016-A95C-30E4C5561BC1}"/>
                </a:ext>
              </a:extLst>
            </p:cNvPr>
            <p:cNvSpPr/>
            <p:nvPr/>
          </p:nvSpPr>
          <p:spPr>
            <a:xfrm rot="16200000">
              <a:off x="4381034" y="67919"/>
              <a:ext cx="1043348" cy="2564085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9700">
                  <a:srgbClr val="004019"/>
                </a:gs>
                <a:gs pos="100000">
                  <a:srgbClr val="007144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6" name="Rectangle: Top Corners Rounded 325">
              <a:extLst>
                <a:ext uri="{FF2B5EF4-FFF2-40B4-BE49-F238E27FC236}">
                  <a16:creationId xmlns:a16="http://schemas.microsoft.com/office/drawing/2014/main" id="{E194D597-53F5-7D4D-37E2-5296DCAF6949}"/>
                </a:ext>
              </a:extLst>
            </p:cNvPr>
            <p:cNvSpPr/>
            <p:nvPr/>
          </p:nvSpPr>
          <p:spPr>
            <a:xfrm rot="5400000">
              <a:off x="6934611" y="67919"/>
              <a:ext cx="1043348" cy="2564085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9700">
                  <a:srgbClr val="550003"/>
                </a:gs>
                <a:gs pos="100000">
                  <a:srgbClr val="A2041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2AF1DC5-51ED-53E5-3843-9F5CFF54279C}"/>
              </a:ext>
            </a:extLst>
          </p:cNvPr>
          <p:cNvGrpSpPr/>
          <p:nvPr/>
        </p:nvGrpSpPr>
        <p:grpSpPr>
          <a:xfrm>
            <a:off x="3785523" y="802690"/>
            <a:ext cx="529738" cy="529738"/>
            <a:chOff x="4276786" y="1375502"/>
            <a:chExt cx="474283" cy="474283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DD52EC5C-0507-32F9-5A0F-62D107CC98B8}"/>
                </a:ext>
              </a:extLst>
            </p:cNvPr>
            <p:cNvSpPr/>
            <p:nvPr/>
          </p:nvSpPr>
          <p:spPr>
            <a:xfrm>
              <a:off x="4276786" y="1375502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14AECC6-211B-CBFA-E7AD-E1479D52F0AF}"/>
                </a:ext>
              </a:extLst>
            </p:cNvPr>
            <p:cNvGrpSpPr/>
            <p:nvPr/>
          </p:nvGrpSpPr>
          <p:grpSpPr>
            <a:xfrm>
              <a:off x="4370921" y="1480133"/>
              <a:ext cx="286013" cy="265021"/>
              <a:chOff x="2982913" y="6350"/>
              <a:chExt cx="346075" cy="320675"/>
            </a:xfrm>
          </p:grpSpPr>
          <p:sp>
            <p:nvSpPr>
              <p:cNvPr id="142" name="Freeform 80">
                <a:extLst>
                  <a:ext uri="{FF2B5EF4-FFF2-40B4-BE49-F238E27FC236}">
                    <a16:creationId xmlns:a16="http://schemas.microsoft.com/office/drawing/2014/main" id="{A4832CE9-19AF-1198-3ECA-2199FAF0F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3" name="Rectangle 81">
                <a:extLst>
                  <a:ext uri="{FF2B5EF4-FFF2-40B4-BE49-F238E27FC236}">
                    <a16:creationId xmlns:a16="http://schemas.microsoft.com/office/drawing/2014/main" id="{ECDC250D-E009-E5D8-66AD-7D75CEFF0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44" name="Oval 82">
                <a:extLst>
                  <a:ext uri="{FF2B5EF4-FFF2-40B4-BE49-F238E27FC236}">
                    <a16:creationId xmlns:a16="http://schemas.microsoft.com/office/drawing/2014/main" id="{AC4FB1A3-991A-F7FF-7FF4-E6DEABE353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00714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26D2DC99-54C3-D1D7-191F-F3C9DE1E76DB}"/>
              </a:ext>
            </a:extLst>
          </p:cNvPr>
          <p:cNvGrpSpPr/>
          <p:nvPr/>
        </p:nvGrpSpPr>
        <p:grpSpPr>
          <a:xfrm>
            <a:off x="7876740" y="802690"/>
            <a:ext cx="529738" cy="529738"/>
            <a:chOff x="7393577" y="1019186"/>
            <a:chExt cx="474283" cy="474283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9399E1FE-B4BE-69DE-53E8-CD92CC987563}"/>
                </a:ext>
              </a:extLst>
            </p:cNvPr>
            <p:cNvSpPr/>
            <p:nvPr/>
          </p:nvSpPr>
          <p:spPr>
            <a:xfrm>
              <a:off x="7393577" y="1019186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8E3B1176-7622-C50A-BF81-A9BAB7A30CD0}"/>
                </a:ext>
              </a:extLst>
            </p:cNvPr>
            <p:cNvGrpSpPr/>
            <p:nvPr/>
          </p:nvGrpSpPr>
          <p:grpSpPr>
            <a:xfrm flipV="1">
              <a:off x="7487712" y="1123817"/>
              <a:ext cx="286013" cy="265021"/>
              <a:chOff x="2982913" y="6350"/>
              <a:chExt cx="346075" cy="320675"/>
            </a:xfrm>
          </p:grpSpPr>
          <p:sp>
            <p:nvSpPr>
              <p:cNvPr id="148" name="Freeform 80">
                <a:extLst>
                  <a:ext uri="{FF2B5EF4-FFF2-40B4-BE49-F238E27FC236}">
                    <a16:creationId xmlns:a16="http://schemas.microsoft.com/office/drawing/2014/main" id="{8A1E28E7-B2F0-1356-32CD-50859365B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149" name="Rectangle 81">
                <a:extLst>
                  <a:ext uri="{FF2B5EF4-FFF2-40B4-BE49-F238E27FC236}">
                    <a16:creationId xmlns:a16="http://schemas.microsoft.com/office/drawing/2014/main" id="{9E72C52B-7225-CAE9-2A44-7F7ED2118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3" name="Oval 82">
                <a:extLst>
                  <a:ext uri="{FF2B5EF4-FFF2-40B4-BE49-F238E27FC236}">
                    <a16:creationId xmlns:a16="http://schemas.microsoft.com/office/drawing/2014/main" id="{4CAF85E0-2AF0-A984-1EB0-6FA9208B7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A2041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1A4180C4-B574-BAF5-C4E3-C4FC69536116}"/>
              </a:ext>
            </a:extLst>
          </p:cNvPr>
          <p:cNvSpPr txBox="1"/>
          <p:nvPr/>
        </p:nvSpPr>
        <p:spPr>
          <a:xfrm>
            <a:off x="4601318" y="747784"/>
            <a:ext cx="11366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Pros</a:t>
            </a:r>
            <a:endParaRPr lang="en-ID" sz="3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CA7BD819-213D-CA97-D413-C5817B81DC7E}"/>
              </a:ext>
            </a:extLst>
          </p:cNvPr>
          <p:cNvSpPr txBox="1"/>
          <p:nvPr/>
        </p:nvSpPr>
        <p:spPr>
          <a:xfrm>
            <a:off x="6362069" y="747784"/>
            <a:ext cx="12378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Cons</a:t>
            </a:r>
            <a:endParaRPr lang="en-ID" sz="3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6EEE7517-DAE0-505E-FD61-7029D42D8C28}"/>
              </a:ext>
            </a:extLst>
          </p:cNvPr>
          <p:cNvSpPr/>
          <p:nvPr/>
        </p:nvSpPr>
        <p:spPr>
          <a:xfrm rot="16200000">
            <a:off x="2429940" y="17812"/>
            <a:ext cx="1935062" cy="5386553"/>
          </a:xfrm>
          <a:prstGeom prst="round2SameRect">
            <a:avLst>
              <a:gd name="adj1" fmla="val 29903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9" name="Rectangle: Top Corners Rounded 328">
            <a:extLst>
              <a:ext uri="{FF2B5EF4-FFF2-40B4-BE49-F238E27FC236}">
                <a16:creationId xmlns:a16="http://schemas.microsoft.com/office/drawing/2014/main" id="{C8315622-FCE8-E81E-105D-C09E3870AF01}"/>
              </a:ext>
            </a:extLst>
          </p:cNvPr>
          <p:cNvSpPr/>
          <p:nvPr/>
        </p:nvSpPr>
        <p:spPr>
          <a:xfrm rot="16200000">
            <a:off x="2429940" y="2066502"/>
            <a:ext cx="1935062" cy="5386553"/>
          </a:xfrm>
          <a:prstGeom prst="round2SameRect">
            <a:avLst>
              <a:gd name="adj1" fmla="val 2718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1" name="Rectangle: Top Corners Rounded 330">
            <a:extLst>
              <a:ext uri="{FF2B5EF4-FFF2-40B4-BE49-F238E27FC236}">
                <a16:creationId xmlns:a16="http://schemas.microsoft.com/office/drawing/2014/main" id="{414CB2E1-FCA1-0FE0-FF92-C10121D874E3}"/>
              </a:ext>
            </a:extLst>
          </p:cNvPr>
          <p:cNvSpPr/>
          <p:nvPr/>
        </p:nvSpPr>
        <p:spPr>
          <a:xfrm rot="5400000">
            <a:off x="7816491" y="17812"/>
            <a:ext cx="1935062" cy="5386553"/>
          </a:xfrm>
          <a:prstGeom prst="round2SameRect">
            <a:avLst>
              <a:gd name="adj1" fmla="val 28274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10800000" algn="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33" name="Rectangle: Top Corners Rounded 332">
            <a:extLst>
              <a:ext uri="{FF2B5EF4-FFF2-40B4-BE49-F238E27FC236}">
                <a16:creationId xmlns:a16="http://schemas.microsoft.com/office/drawing/2014/main" id="{56AE3CF5-0711-55C9-4992-AE19F28DA4FB}"/>
              </a:ext>
            </a:extLst>
          </p:cNvPr>
          <p:cNvSpPr/>
          <p:nvPr/>
        </p:nvSpPr>
        <p:spPr>
          <a:xfrm rot="5400000">
            <a:off x="7816491" y="2066502"/>
            <a:ext cx="1935062" cy="5386553"/>
          </a:xfrm>
          <a:prstGeom prst="round2SameRect">
            <a:avLst>
              <a:gd name="adj1" fmla="val 29903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39700" dist="38100" dir="10800000" algn="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8F440D28-CE62-BE0A-1A00-E24AEE9BD345}"/>
              </a:ext>
            </a:extLst>
          </p:cNvPr>
          <p:cNvGrpSpPr/>
          <p:nvPr/>
        </p:nvGrpSpPr>
        <p:grpSpPr>
          <a:xfrm>
            <a:off x="1137038" y="2078683"/>
            <a:ext cx="3073082" cy="1264810"/>
            <a:chOff x="515938" y="760869"/>
            <a:chExt cx="3073082" cy="1264810"/>
          </a:xfrm>
        </p:grpSpPr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79F3C768-9657-C5A8-F6AB-65C8996E25C7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rgbClr val="004019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6A44B95F-F305-27D8-0E31-44BDC311FADB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</a:t>
              </a:r>
              <a:r>
                <a:rPr lang="en-US" sz="1400" b="0" i="0" dirty="0">
                  <a:effectLst/>
                </a:rPr>
                <a:t>sed do </a:t>
              </a:r>
              <a:r>
                <a:rPr lang="en-US" sz="1400" b="0" i="0" dirty="0" err="1">
                  <a:effectLst/>
                </a:rPr>
                <a:t>eiusmod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tempor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incididunt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ut</a:t>
              </a:r>
              <a:r>
                <a:rPr lang="en-US" sz="1400" b="0" i="0" dirty="0">
                  <a:effectLst/>
                </a:rPr>
                <a:t> labore et dolore magna </a:t>
              </a:r>
              <a:r>
                <a:rPr lang="en-US" sz="1400" b="0" i="0" dirty="0" err="1">
                  <a:effectLst/>
                </a:rPr>
                <a:t>aliqua</a:t>
              </a:r>
              <a:r>
                <a:rPr lang="en-US" sz="1400" b="0" i="0" dirty="0">
                  <a:effectLst/>
                </a:rPr>
                <a:t>.</a:t>
              </a:r>
              <a:endParaRPr lang="en-US" sz="1400" dirty="0"/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8FA204FA-5914-5434-DCEB-C7062BE1E75C}"/>
              </a:ext>
            </a:extLst>
          </p:cNvPr>
          <p:cNvGrpSpPr/>
          <p:nvPr/>
        </p:nvGrpSpPr>
        <p:grpSpPr>
          <a:xfrm>
            <a:off x="1137038" y="4127373"/>
            <a:ext cx="3073082" cy="1264810"/>
            <a:chOff x="515938" y="760869"/>
            <a:chExt cx="3073082" cy="1264810"/>
          </a:xfrm>
        </p:grpSpPr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817C5E9D-E59E-3D8D-A252-FAA5F68B001F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rgbClr val="004019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0DB483B4-8077-8A0E-DCAF-C9E98C3986CB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</a:t>
              </a:r>
              <a:r>
                <a:rPr lang="en-US" sz="1400" b="0" i="0" dirty="0">
                  <a:effectLst/>
                </a:rPr>
                <a:t>sed do </a:t>
              </a:r>
              <a:r>
                <a:rPr lang="en-US" sz="1400" b="0" i="0" dirty="0" err="1">
                  <a:effectLst/>
                </a:rPr>
                <a:t>eiusmod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tempor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incididunt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ut</a:t>
              </a:r>
              <a:r>
                <a:rPr lang="en-US" sz="1400" b="0" i="0" dirty="0">
                  <a:effectLst/>
                </a:rPr>
                <a:t> labore et dolore magna </a:t>
              </a:r>
              <a:r>
                <a:rPr lang="en-US" sz="1400" b="0" i="0" dirty="0" err="1">
                  <a:effectLst/>
                </a:rPr>
                <a:t>aliqua</a:t>
              </a:r>
              <a:r>
                <a:rPr lang="en-US" sz="1400" b="0" i="0" dirty="0">
                  <a:effectLst/>
                </a:rPr>
                <a:t>.</a:t>
              </a:r>
              <a:endParaRPr lang="en-US" sz="1400" dirty="0"/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6BABC7D-8ED9-50AA-58F6-5E9115011033}"/>
              </a:ext>
            </a:extLst>
          </p:cNvPr>
          <p:cNvGrpSpPr/>
          <p:nvPr/>
        </p:nvGrpSpPr>
        <p:grpSpPr>
          <a:xfrm>
            <a:off x="7944480" y="2078683"/>
            <a:ext cx="3073082" cy="1264810"/>
            <a:chOff x="515938" y="760869"/>
            <a:chExt cx="3073082" cy="1264810"/>
          </a:xfrm>
        </p:grpSpPr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648DCD33-8D32-3DF0-C346-E207DCC98E5B}"/>
                </a:ext>
              </a:extLst>
            </p:cNvPr>
            <p:cNvSpPr txBox="1"/>
            <p:nvPr/>
          </p:nvSpPr>
          <p:spPr>
            <a:xfrm>
              <a:off x="151415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rgbClr val="A20417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39790E88-8748-C9B7-18F4-4E3BDE598FD9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</a:t>
              </a:r>
              <a:r>
                <a:rPr lang="en-US" sz="1400" b="0" i="0" dirty="0">
                  <a:effectLst/>
                </a:rPr>
                <a:t>sed do </a:t>
              </a:r>
              <a:r>
                <a:rPr lang="en-US" sz="1400" b="0" i="0" dirty="0" err="1">
                  <a:effectLst/>
                </a:rPr>
                <a:t>eiusmod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tempor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incididunt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ut</a:t>
              </a:r>
              <a:r>
                <a:rPr lang="en-US" sz="1400" b="0" i="0" dirty="0">
                  <a:effectLst/>
                </a:rPr>
                <a:t> labore et dolore magna </a:t>
              </a:r>
              <a:r>
                <a:rPr lang="en-US" sz="1400" b="0" i="0" dirty="0" err="1">
                  <a:effectLst/>
                </a:rPr>
                <a:t>aliqua</a:t>
              </a:r>
              <a:r>
                <a:rPr lang="en-US" sz="1400" b="0" i="0" dirty="0">
                  <a:effectLst/>
                </a:rPr>
                <a:t>.</a:t>
              </a:r>
              <a:endParaRPr lang="en-US" sz="1400" dirty="0"/>
            </a:p>
          </p:txBody>
        </p:sp>
      </p:grp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4D443311-8E33-CB01-B7CB-4FB1F412B5DA}"/>
              </a:ext>
            </a:extLst>
          </p:cNvPr>
          <p:cNvGrpSpPr/>
          <p:nvPr/>
        </p:nvGrpSpPr>
        <p:grpSpPr>
          <a:xfrm>
            <a:off x="7944480" y="4127373"/>
            <a:ext cx="3073082" cy="1264810"/>
            <a:chOff x="515938" y="760869"/>
            <a:chExt cx="3073082" cy="1264810"/>
          </a:xfrm>
        </p:grpSpPr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B9AA454B-56EF-9409-0BFB-A8C585D288E7}"/>
                </a:ext>
              </a:extLst>
            </p:cNvPr>
            <p:cNvSpPr txBox="1"/>
            <p:nvPr/>
          </p:nvSpPr>
          <p:spPr>
            <a:xfrm>
              <a:off x="151415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rgbClr val="A20417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A3099E67-E80A-BA65-2F5A-73380C537F92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</a:t>
              </a:r>
              <a:r>
                <a:rPr lang="en-US" sz="1400" b="0" i="0" dirty="0">
                  <a:effectLst/>
                </a:rPr>
                <a:t>sed do </a:t>
              </a:r>
              <a:r>
                <a:rPr lang="en-US" sz="1400" b="0" i="0" dirty="0" err="1">
                  <a:effectLst/>
                </a:rPr>
                <a:t>eiusmod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tempor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incididunt</a:t>
              </a:r>
              <a:r>
                <a:rPr lang="en-US" sz="1400" b="0" i="0" dirty="0">
                  <a:effectLst/>
                </a:rPr>
                <a:t> </a:t>
              </a:r>
              <a:r>
                <a:rPr lang="en-US" sz="1400" b="0" i="0" dirty="0" err="1">
                  <a:effectLst/>
                </a:rPr>
                <a:t>ut</a:t>
              </a:r>
              <a:r>
                <a:rPr lang="en-US" sz="1400" b="0" i="0" dirty="0">
                  <a:effectLst/>
                </a:rPr>
                <a:t> labore et dolore magna </a:t>
              </a:r>
              <a:r>
                <a:rPr lang="en-US" sz="1400" b="0" i="0" dirty="0" err="1">
                  <a:effectLst/>
                </a:rPr>
                <a:t>aliqua</a:t>
              </a:r>
              <a:r>
                <a:rPr lang="en-US" sz="1400" b="0" i="0" dirty="0">
                  <a:effectLst/>
                </a:rPr>
                <a:t>.</a:t>
              </a:r>
              <a:endParaRPr lang="en-US" sz="1400" dirty="0"/>
            </a:p>
          </p:txBody>
        </p:sp>
      </p:grpSp>
      <p:pic>
        <p:nvPicPr>
          <p:cNvPr id="18" name="Picture 17" descr="A person in a red shirt&#10;&#10;Description automatically generated with low confidence">
            <a:extLst>
              <a:ext uri="{FF2B5EF4-FFF2-40B4-BE49-F238E27FC236}">
                <a16:creationId xmlns:a16="http://schemas.microsoft.com/office/drawing/2014/main" id="{CED8093F-BEC9-C2A5-C4F5-31F0119A5D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850" y="635313"/>
            <a:ext cx="48483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1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Rectangle 266">
            <a:extLst>
              <a:ext uri="{FF2B5EF4-FFF2-40B4-BE49-F238E27FC236}">
                <a16:creationId xmlns:a16="http://schemas.microsoft.com/office/drawing/2014/main" id="{2952C49C-9ED5-4505-0A81-30D544146EF6}"/>
              </a:ext>
            </a:extLst>
          </p:cNvPr>
          <p:cNvSpPr/>
          <p:nvPr/>
        </p:nvSpPr>
        <p:spPr>
          <a:xfrm>
            <a:off x="0" y="948344"/>
            <a:ext cx="12192000" cy="4329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5EDA8AFF-CA16-8239-4A38-BDC4447C6BAE}"/>
              </a:ext>
            </a:extLst>
          </p:cNvPr>
          <p:cNvSpPr/>
          <p:nvPr/>
        </p:nvSpPr>
        <p:spPr>
          <a:xfrm>
            <a:off x="397037" y="549275"/>
            <a:ext cx="11315837" cy="51271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algn="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6" name="Slide Number Placeholder 3">
            <a:extLst>
              <a:ext uri="{FF2B5EF4-FFF2-40B4-BE49-F238E27FC236}">
                <a16:creationId xmlns:a16="http://schemas.microsoft.com/office/drawing/2014/main" id="{37DD1206-012B-B305-A850-41FAFA5A9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2355" y="6144784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11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6CD710-64C3-CFE5-BE1F-1D8A54A45421}"/>
              </a:ext>
            </a:extLst>
          </p:cNvPr>
          <p:cNvSpPr/>
          <p:nvPr/>
        </p:nvSpPr>
        <p:spPr>
          <a:xfrm>
            <a:off x="1671614" y="1213146"/>
            <a:ext cx="10041260" cy="1943913"/>
          </a:xfrm>
          <a:prstGeom prst="rect">
            <a:avLst/>
          </a:prstGeom>
          <a:gradFill>
            <a:gsLst>
              <a:gs pos="0">
                <a:srgbClr val="004019"/>
              </a:gs>
              <a:gs pos="100000">
                <a:srgbClr val="007144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3FFE39-8581-B774-0526-44A6609A0563}"/>
              </a:ext>
            </a:extLst>
          </p:cNvPr>
          <p:cNvSpPr/>
          <p:nvPr/>
        </p:nvSpPr>
        <p:spPr>
          <a:xfrm>
            <a:off x="515938" y="3200507"/>
            <a:ext cx="9995983" cy="1943913"/>
          </a:xfrm>
          <a:prstGeom prst="rect">
            <a:avLst/>
          </a:prstGeom>
          <a:gradFill>
            <a:gsLst>
              <a:gs pos="0">
                <a:srgbClr val="A20417"/>
              </a:gs>
              <a:gs pos="100000">
                <a:srgbClr val="4D000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Flowchart: Extract 8">
            <a:extLst>
              <a:ext uri="{FF2B5EF4-FFF2-40B4-BE49-F238E27FC236}">
                <a16:creationId xmlns:a16="http://schemas.microsoft.com/office/drawing/2014/main" id="{F3962387-5F87-CC7F-30B7-B5E98FC9899C}"/>
              </a:ext>
            </a:extLst>
          </p:cNvPr>
          <p:cNvSpPr/>
          <p:nvPr/>
        </p:nvSpPr>
        <p:spPr>
          <a:xfrm rot="5400000">
            <a:off x="9505560" y="3327079"/>
            <a:ext cx="3008048" cy="1406580"/>
          </a:xfrm>
          <a:prstGeom prst="flowChartExtract">
            <a:avLst/>
          </a:prstGeom>
          <a:solidFill>
            <a:srgbClr val="A20417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1B539A-A4BD-506A-7ACD-7FE87BE7E71A}"/>
              </a:ext>
            </a:extLst>
          </p:cNvPr>
          <p:cNvSpPr/>
          <p:nvPr/>
        </p:nvSpPr>
        <p:spPr>
          <a:xfrm>
            <a:off x="9983745" y="3200507"/>
            <a:ext cx="528175" cy="1943913"/>
          </a:xfrm>
          <a:prstGeom prst="rect">
            <a:avLst/>
          </a:prstGeom>
          <a:solidFill>
            <a:srgbClr val="A204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Flowchart: Extract 12">
            <a:extLst>
              <a:ext uri="{FF2B5EF4-FFF2-40B4-BE49-F238E27FC236}">
                <a16:creationId xmlns:a16="http://schemas.microsoft.com/office/drawing/2014/main" id="{F4771104-92AC-A2CB-2FBD-3596DBF9C353}"/>
              </a:ext>
            </a:extLst>
          </p:cNvPr>
          <p:cNvSpPr/>
          <p:nvPr/>
        </p:nvSpPr>
        <p:spPr>
          <a:xfrm rot="16200000">
            <a:off x="-306202" y="1481814"/>
            <a:ext cx="3008048" cy="1406580"/>
          </a:xfrm>
          <a:prstGeom prst="flowChartExtract">
            <a:avLst/>
          </a:prstGeom>
          <a:solidFill>
            <a:srgbClr val="007144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A8B9D5-B43D-F1F4-29FA-90E26CB1C989}"/>
              </a:ext>
            </a:extLst>
          </p:cNvPr>
          <p:cNvSpPr/>
          <p:nvPr/>
        </p:nvSpPr>
        <p:spPr>
          <a:xfrm>
            <a:off x="1775564" y="1213146"/>
            <a:ext cx="300247" cy="1943913"/>
          </a:xfrm>
          <a:prstGeom prst="rect">
            <a:avLst/>
          </a:pr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1" name="Picture 60" descr="A group of people outside&#10;&#10;Description automatically generated with low confidence">
            <a:extLst>
              <a:ext uri="{FF2B5EF4-FFF2-40B4-BE49-F238E27FC236}">
                <a16:creationId xmlns:a16="http://schemas.microsoft.com/office/drawing/2014/main" id="{0FCB6310-265D-5C15-F2D1-C657A342F2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1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126" y="673149"/>
            <a:ext cx="11151659" cy="3008048"/>
          </a:xfrm>
          <a:custGeom>
            <a:avLst/>
            <a:gdLst>
              <a:gd name="connsiteX0" fmla="*/ 1406580 w 11218342"/>
              <a:gd name="connsiteY0" fmla="*/ 0 h 3008048"/>
              <a:gd name="connsiteX1" fmla="*/ 1406580 w 11218342"/>
              <a:gd name="connsiteY1" fmla="*/ 532066 h 3008048"/>
              <a:gd name="connsiteX2" fmla="*/ 1581279 w 11218342"/>
              <a:gd name="connsiteY2" fmla="*/ 532066 h 3008048"/>
              <a:gd name="connsiteX3" fmla="*/ 11218342 w 11218342"/>
              <a:gd name="connsiteY3" fmla="*/ 532066 h 3008048"/>
              <a:gd name="connsiteX4" fmla="*/ 11218342 w 11218342"/>
              <a:gd name="connsiteY4" fmla="*/ 2475979 h 3008048"/>
              <a:gd name="connsiteX5" fmla="*/ 1581279 w 11218342"/>
              <a:gd name="connsiteY5" fmla="*/ 2475979 h 3008048"/>
              <a:gd name="connsiteX6" fmla="*/ 1406580 w 11218342"/>
              <a:gd name="connsiteY6" fmla="*/ 2475979 h 3008048"/>
              <a:gd name="connsiteX7" fmla="*/ 1406580 w 11218342"/>
              <a:gd name="connsiteY7" fmla="*/ 3008048 h 3008048"/>
              <a:gd name="connsiteX8" fmla="*/ 0 w 11218342"/>
              <a:gd name="connsiteY8" fmla="*/ 1504024 h 3008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18342" h="3008048">
                <a:moveTo>
                  <a:pt x="1406580" y="0"/>
                </a:moveTo>
                <a:lnTo>
                  <a:pt x="1406580" y="532066"/>
                </a:lnTo>
                <a:lnTo>
                  <a:pt x="1581279" y="532066"/>
                </a:lnTo>
                <a:lnTo>
                  <a:pt x="11218342" y="532066"/>
                </a:lnTo>
                <a:lnTo>
                  <a:pt x="11218342" y="2475979"/>
                </a:lnTo>
                <a:lnTo>
                  <a:pt x="1581279" y="2475979"/>
                </a:lnTo>
                <a:lnTo>
                  <a:pt x="1406580" y="2475979"/>
                </a:lnTo>
                <a:lnTo>
                  <a:pt x="1406580" y="3008048"/>
                </a:lnTo>
                <a:lnTo>
                  <a:pt x="0" y="1504024"/>
                </a:lnTo>
                <a:close/>
              </a:path>
            </a:pathLst>
          </a:custGeom>
        </p:spPr>
      </p:pic>
      <p:pic>
        <p:nvPicPr>
          <p:cNvPr id="67" name="Picture 66" descr="A large crowd of people&#10;&#10;Description automatically generated with medium confidence">
            <a:extLst>
              <a:ext uri="{FF2B5EF4-FFF2-40B4-BE49-F238E27FC236}">
                <a16:creationId xmlns:a16="http://schemas.microsoft.com/office/drawing/2014/main" id="{DA826AE9-305C-41B4-0BA3-BF52FB36D8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938" y="2518414"/>
            <a:ext cx="11196936" cy="3008048"/>
          </a:xfrm>
          <a:custGeom>
            <a:avLst/>
            <a:gdLst>
              <a:gd name="connsiteX0" fmla="*/ 9790356 w 11196936"/>
              <a:gd name="connsiteY0" fmla="*/ 0 h 3008048"/>
              <a:gd name="connsiteX1" fmla="*/ 11196936 w 11196936"/>
              <a:gd name="connsiteY1" fmla="*/ 1504024 h 3008048"/>
              <a:gd name="connsiteX2" fmla="*/ 9790356 w 11196936"/>
              <a:gd name="connsiteY2" fmla="*/ 3008048 h 3008048"/>
              <a:gd name="connsiteX3" fmla="*/ 9790356 w 11196936"/>
              <a:gd name="connsiteY3" fmla="*/ 2618075 h 3008048"/>
              <a:gd name="connsiteX4" fmla="*/ 9467807 w 11196936"/>
              <a:gd name="connsiteY4" fmla="*/ 2618075 h 3008048"/>
              <a:gd name="connsiteX5" fmla="*/ 0 w 11196936"/>
              <a:gd name="connsiteY5" fmla="*/ 2618075 h 3008048"/>
              <a:gd name="connsiteX6" fmla="*/ 0 w 11196936"/>
              <a:gd name="connsiteY6" fmla="*/ 674162 h 3008048"/>
              <a:gd name="connsiteX7" fmla="*/ 9467807 w 11196936"/>
              <a:gd name="connsiteY7" fmla="*/ 674162 h 3008048"/>
              <a:gd name="connsiteX8" fmla="*/ 9790356 w 11196936"/>
              <a:gd name="connsiteY8" fmla="*/ 674162 h 3008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96936" h="3008048">
                <a:moveTo>
                  <a:pt x="9790356" y="0"/>
                </a:moveTo>
                <a:lnTo>
                  <a:pt x="11196936" y="1504024"/>
                </a:lnTo>
                <a:lnTo>
                  <a:pt x="9790356" y="3008048"/>
                </a:lnTo>
                <a:lnTo>
                  <a:pt x="9790356" y="2618075"/>
                </a:lnTo>
                <a:lnTo>
                  <a:pt x="9467807" y="2618075"/>
                </a:lnTo>
                <a:lnTo>
                  <a:pt x="0" y="2618075"/>
                </a:lnTo>
                <a:lnTo>
                  <a:pt x="0" y="674162"/>
                </a:lnTo>
                <a:lnTo>
                  <a:pt x="9467807" y="674162"/>
                </a:lnTo>
                <a:lnTo>
                  <a:pt x="9790356" y="674162"/>
                </a:lnTo>
                <a:close/>
              </a:path>
            </a:pathLst>
          </a:cu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845ACBF1-5096-92BB-23BB-1032D54522DD}"/>
              </a:ext>
            </a:extLst>
          </p:cNvPr>
          <p:cNvSpPr txBox="1"/>
          <p:nvPr/>
        </p:nvSpPr>
        <p:spPr>
          <a:xfrm>
            <a:off x="10247832" y="1232766"/>
            <a:ext cx="134626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</a:rPr>
              <a:t>Pros</a:t>
            </a:r>
            <a:endParaRPr lang="en-ID" sz="4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72D4E12-1389-1187-9261-58962F058D95}"/>
              </a:ext>
            </a:extLst>
          </p:cNvPr>
          <p:cNvSpPr txBox="1"/>
          <p:nvPr/>
        </p:nvSpPr>
        <p:spPr>
          <a:xfrm>
            <a:off x="603933" y="4290136"/>
            <a:ext cx="147187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</a:rPr>
              <a:t>Cons</a:t>
            </a:r>
            <a:endParaRPr lang="en-ID" sz="4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9EA9A824-ECF9-0515-EDD4-3F60ED9AA9B5}"/>
              </a:ext>
            </a:extLst>
          </p:cNvPr>
          <p:cNvCxnSpPr>
            <a:cxnSpLocks/>
          </p:cNvCxnSpPr>
          <p:nvPr/>
        </p:nvCxnSpPr>
        <p:spPr>
          <a:xfrm>
            <a:off x="1901112" y="1513973"/>
            <a:ext cx="8311563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Oval 259">
            <a:extLst>
              <a:ext uri="{FF2B5EF4-FFF2-40B4-BE49-F238E27FC236}">
                <a16:creationId xmlns:a16="http://schemas.microsoft.com/office/drawing/2014/main" id="{2D2791BF-AC24-927A-4AF1-868F9F0DF27E}"/>
              </a:ext>
            </a:extLst>
          </p:cNvPr>
          <p:cNvSpPr/>
          <p:nvPr/>
        </p:nvSpPr>
        <p:spPr>
          <a:xfrm>
            <a:off x="1770497" y="1395801"/>
            <a:ext cx="224419" cy="224419"/>
          </a:xfrm>
          <a:prstGeom prst="ellipse">
            <a:avLst/>
          </a:prstGeom>
          <a:solidFill>
            <a:srgbClr val="004019"/>
          </a:solidFill>
          <a:ln w="79375">
            <a:solidFill>
              <a:srgbClr val="007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8AC5F05-F672-9713-95BF-21EB51BF2239}"/>
              </a:ext>
            </a:extLst>
          </p:cNvPr>
          <p:cNvSpPr/>
          <p:nvPr/>
        </p:nvSpPr>
        <p:spPr>
          <a:xfrm>
            <a:off x="4478692" y="1395801"/>
            <a:ext cx="224419" cy="224419"/>
          </a:xfrm>
          <a:prstGeom prst="ellipse">
            <a:avLst/>
          </a:prstGeom>
          <a:solidFill>
            <a:srgbClr val="004019"/>
          </a:solidFill>
          <a:ln w="79375">
            <a:solidFill>
              <a:srgbClr val="007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6EC74E8-5B46-B55C-852F-E9E9EF02601F}"/>
              </a:ext>
            </a:extLst>
          </p:cNvPr>
          <p:cNvSpPr/>
          <p:nvPr/>
        </p:nvSpPr>
        <p:spPr>
          <a:xfrm>
            <a:off x="7186888" y="1395801"/>
            <a:ext cx="224419" cy="224419"/>
          </a:xfrm>
          <a:prstGeom prst="ellipse">
            <a:avLst/>
          </a:prstGeom>
          <a:solidFill>
            <a:srgbClr val="004019"/>
          </a:solidFill>
          <a:ln w="79375">
            <a:solidFill>
              <a:srgbClr val="007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E44BD31-7225-168C-A4CB-6B15600B6603}"/>
              </a:ext>
            </a:extLst>
          </p:cNvPr>
          <p:cNvCxnSpPr>
            <a:cxnSpLocks/>
          </p:cNvCxnSpPr>
          <p:nvPr/>
        </p:nvCxnSpPr>
        <p:spPr>
          <a:xfrm>
            <a:off x="2173785" y="4797848"/>
            <a:ext cx="8132509" cy="0"/>
          </a:xfrm>
          <a:prstGeom prst="line">
            <a:avLst/>
          </a:prstGeom>
          <a:ln>
            <a:solidFill>
              <a:srgbClr val="ED42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3813D80F-4CBB-FB07-CF4C-5EA0209CF8E2}"/>
              </a:ext>
            </a:extLst>
          </p:cNvPr>
          <p:cNvSpPr/>
          <p:nvPr/>
        </p:nvSpPr>
        <p:spPr>
          <a:xfrm>
            <a:off x="4424948" y="4685638"/>
            <a:ext cx="224419" cy="224419"/>
          </a:xfrm>
          <a:prstGeom prst="ellipse">
            <a:avLst/>
          </a:prstGeom>
          <a:solidFill>
            <a:srgbClr val="4D0001"/>
          </a:solidFill>
          <a:ln w="79375">
            <a:solidFill>
              <a:srgbClr val="A204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A3C7455-24D7-9328-341D-7CAE836C9705}"/>
              </a:ext>
            </a:extLst>
          </p:cNvPr>
          <p:cNvSpPr/>
          <p:nvPr/>
        </p:nvSpPr>
        <p:spPr>
          <a:xfrm>
            <a:off x="10118686" y="4685638"/>
            <a:ext cx="224419" cy="224419"/>
          </a:xfrm>
          <a:prstGeom prst="ellipse">
            <a:avLst/>
          </a:prstGeom>
          <a:solidFill>
            <a:srgbClr val="4D0001"/>
          </a:solidFill>
          <a:ln w="79375">
            <a:solidFill>
              <a:srgbClr val="A204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C39C17D-7C21-D07E-5D2E-E36F11FD719B}"/>
              </a:ext>
            </a:extLst>
          </p:cNvPr>
          <p:cNvSpPr/>
          <p:nvPr/>
        </p:nvSpPr>
        <p:spPr>
          <a:xfrm>
            <a:off x="7271817" y="4685638"/>
            <a:ext cx="224419" cy="224419"/>
          </a:xfrm>
          <a:prstGeom prst="ellipse">
            <a:avLst/>
          </a:prstGeom>
          <a:solidFill>
            <a:srgbClr val="4D0001"/>
          </a:solidFill>
          <a:ln w="79375">
            <a:solidFill>
              <a:srgbClr val="A204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2521CEF-373F-3C3B-64F3-C978580E30D4}"/>
              </a:ext>
            </a:extLst>
          </p:cNvPr>
          <p:cNvSpPr txBox="1"/>
          <p:nvPr/>
        </p:nvSpPr>
        <p:spPr>
          <a:xfrm>
            <a:off x="1882706" y="1653871"/>
            <a:ext cx="162567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FA53CB3-F782-714B-12DB-0BBA17CAF2DB}"/>
              </a:ext>
            </a:extLst>
          </p:cNvPr>
          <p:cNvSpPr txBox="1"/>
          <p:nvPr/>
        </p:nvSpPr>
        <p:spPr>
          <a:xfrm>
            <a:off x="1882706" y="2056907"/>
            <a:ext cx="2407791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sed do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temp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22A6149-7C56-2F5B-827C-415C1608A87E}"/>
              </a:ext>
            </a:extLst>
          </p:cNvPr>
          <p:cNvSpPr txBox="1"/>
          <p:nvPr/>
        </p:nvSpPr>
        <p:spPr>
          <a:xfrm>
            <a:off x="4537157" y="1653871"/>
            <a:ext cx="162567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E4AD4E-2403-DF4B-6076-5945F3F24F03}"/>
              </a:ext>
            </a:extLst>
          </p:cNvPr>
          <p:cNvSpPr txBox="1"/>
          <p:nvPr/>
        </p:nvSpPr>
        <p:spPr>
          <a:xfrm>
            <a:off x="4537157" y="2056907"/>
            <a:ext cx="240779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sed do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labore et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AD1E0C6-2CBF-27BB-6325-729461E8CB97}"/>
              </a:ext>
            </a:extLst>
          </p:cNvPr>
          <p:cNvSpPr txBox="1"/>
          <p:nvPr/>
        </p:nvSpPr>
        <p:spPr>
          <a:xfrm>
            <a:off x="7262202" y="1653871"/>
            <a:ext cx="162567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D93E653-1C70-E95F-00E1-D209B0C76CE6}"/>
              </a:ext>
            </a:extLst>
          </p:cNvPr>
          <p:cNvSpPr txBox="1"/>
          <p:nvPr/>
        </p:nvSpPr>
        <p:spPr>
          <a:xfrm>
            <a:off x="7262202" y="2056907"/>
            <a:ext cx="240779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sed do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</a:rPr>
              <a:t> labore et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165FBF07-9E78-FA69-C963-35C6C5EFEF6C}"/>
              </a:ext>
            </a:extLst>
          </p:cNvPr>
          <p:cNvGrpSpPr/>
          <p:nvPr/>
        </p:nvGrpSpPr>
        <p:grpSpPr>
          <a:xfrm>
            <a:off x="7804884" y="3291744"/>
            <a:ext cx="2407791" cy="1264810"/>
            <a:chOff x="7804884" y="3591555"/>
            <a:chExt cx="2407791" cy="1264810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0A202DF-B6E4-797C-898D-FA4CAB1AC277}"/>
                </a:ext>
              </a:extLst>
            </p:cNvPr>
            <p:cNvSpPr txBox="1"/>
            <p:nvPr/>
          </p:nvSpPr>
          <p:spPr>
            <a:xfrm>
              <a:off x="8587000" y="3591555"/>
              <a:ext cx="16256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B4DD3AB-2D96-7C6D-02A0-F0A2CB216068}"/>
                </a:ext>
              </a:extLst>
            </p:cNvPr>
            <p:cNvSpPr txBox="1"/>
            <p:nvPr/>
          </p:nvSpPr>
          <p:spPr>
            <a:xfrm>
              <a:off x="7804884" y="3994591"/>
              <a:ext cx="2407791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9D2E464-2C32-2B5B-C382-E650B775B1E0}"/>
              </a:ext>
            </a:extLst>
          </p:cNvPr>
          <p:cNvGrpSpPr/>
          <p:nvPr/>
        </p:nvGrpSpPr>
        <p:grpSpPr>
          <a:xfrm>
            <a:off x="5013935" y="3291744"/>
            <a:ext cx="2407791" cy="1264810"/>
            <a:chOff x="7804884" y="3591555"/>
            <a:chExt cx="2407791" cy="1264810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1862380C-B61C-4FB8-68C9-EFB5904D4229}"/>
                </a:ext>
              </a:extLst>
            </p:cNvPr>
            <p:cNvSpPr txBox="1"/>
            <p:nvPr/>
          </p:nvSpPr>
          <p:spPr>
            <a:xfrm>
              <a:off x="8587000" y="3591555"/>
              <a:ext cx="16256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B93CC41-2C7F-B79C-8C5C-4579461F569C}"/>
                </a:ext>
              </a:extLst>
            </p:cNvPr>
            <p:cNvSpPr txBox="1"/>
            <p:nvPr/>
          </p:nvSpPr>
          <p:spPr>
            <a:xfrm>
              <a:off x="7804884" y="3994591"/>
              <a:ext cx="2407791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CABA2EB1-19FB-491D-9D19-CF32DA01D2B7}"/>
              </a:ext>
            </a:extLst>
          </p:cNvPr>
          <p:cNvGrpSpPr/>
          <p:nvPr/>
        </p:nvGrpSpPr>
        <p:grpSpPr>
          <a:xfrm>
            <a:off x="2129366" y="3291744"/>
            <a:ext cx="2407791" cy="1264810"/>
            <a:chOff x="7804884" y="3591555"/>
            <a:chExt cx="2407791" cy="126481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72316D5-0E72-7F2D-44A5-C0127CE19F7F}"/>
                </a:ext>
              </a:extLst>
            </p:cNvPr>
            <p:cNvSpPr txBox="1"/>
            <p:nvPr/>
          </p:nvSpPr>
          <p:spPr>
            <a:xfrm>
              <a:off x="8587000" y="3591555"/>
              <a:ext cx="162567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DCE123BE-38C4-5DD6-EFEE-5055C619C176}"/>
                </a:ext>
              </a:extLst>
            </p:cNvPr>
            <p:cNvSpPr txBox="1"/>
            <p:nvPr/>
          </p:nvSpPr>
          <p:spPr>
            <a:xfrm>
              <a:off x="7804884" y="3994591"/>
              <a:ext cx="2407791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1" name="Picture 100" descr="A picture containing person, hand&#10;&#10;Description automatically generated">
            <a:extLst>
              <a:ext uri="{FF2B5EF4-FFF2-40B4-BE49-F238E27FC236}">
                <a16:creationId xmlns:a16="http://schemas.microsoft.com/office/drawing/2014/main" id="{8AABB76B-4865-FD65-C366-C4C5FDC77DB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0555464" y="291472"/>
            <a:ext cx="1635857" cy="4852948"/>
          </a:xfrm>
          <a:custGeom>
            <a:avLst/>
            <a:gdLst>
              <a:gd name="connsiteX0" fmla="*/ 900075 w 900075"/>
              <a:gd name="connsiteY0" fmla="*/ 0 h 2670170"/>
              <a:gd name="connsiteX1" fmla="*/ 0 w 900075"/>
              <a:gd name="connsiteY1" fmla="*/ 0 h 2670170"/>
              <a:gd name="connsiteX2" fmla="*/ 0 w 900075"/>
              <a:gd name="connsiteY2" fmla="*/ 2670170 h 2670170"/>
              <a:gd name="connsiteX3" fmla="*/ 900075 w 900075"/>
              <a:gd name="connsiteY3" fmla="*/ 2670170 h 2670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0075" h="2670170">
                <a:moveTo>
                  <a:pt x="900075" y="0"/>
                </a:moveTo>
                <a:lnTo>
                  <a:pt x="0" y="0"/>
                </a:lnTo>
                <a:lnTo>
                  <a:pt x="0" y="2670170"/>
                </a:lnTo>
                <a:lnTo>
                  <a:pt x="900075" y="2670170"/>
                </a:lnTo>
                <a:close/>
              </a:path>
            </a:pathLst>
          </a:custGeom>
        </p:spPr>
      </p:pic>
      <p:pic>
        <p:nvPicPr>
          <p:cNvPr id="103" name="Picture 102" descr="A picture containing person, hand&#10;&#10;Description automatically generated">
            <a:extLst>
              <a:ext uri="{FF2B5EF4-FFF2-40B4-BE49-F238E27FC236}">
                <a16:creationId xmlns:a16="http://schemas.microsoft.com/office/drawing/2014/main" id="{A256B4E0-7082-48CB-2525-AFAC537282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 flipH="1">
            <a:off x="-5260" y="1433378"/>
            <a:ext cx="1906371" cy="4626925"/>
          </a:xfrm>
          <a:custGeom>
            <a:avLst/>
            <a:gdLst>
              <a:gd name="connsiteX0" fmla="*/ 0 w 1100155"/>
              <a:gd name="connsiteY0" fmla="*/ 2670170 h 2670170"/>
              <a:gd name="connsiteX1" fmla="*/ 1100155 w 1100155"/>
              <a:gd name="connsiteY1" fmla="*/ 2670170 h 2670170"/>
              <a:gd name="connsiteX2" fmla="*/ 1100155 w 1100155"/>
              <a:gd name="connsiteY2" fmla="*/ 0 h 2670170"/>
              <a:gd name="connsiteX3" fmla="*/ 0 w 1100155"/>
              <a:gd name="connsiteY3" fmla="*/ 0 h 2670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0155" h="2670170">
                <a:moveTo>
                  <a:pt x="0" y="2670170"/>
                </a:moveTo>
                <a:lnTo>
                  <a:pt x="1100155" y="2670170"/>
                </a:lnTo>
                <a:lnTo>
                  <a:pt x="1100155" y="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043233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1D400B7-CEC3-557A-7632-6FB72808F581}"/>
              </a:ext>
            </a:extLst>
          </p:cNvPr>
          <p:cNvSpPr/>
          <p:nvPr/>
        </p:nvSpPr>
        <p:spPr>
          <a:xfrm flipV="1">
            <a:off x="0" y="1"/>
            <a:ext cx="5260993" cy="3624299"/>
          </a:xfrm>
          <a:custGeom>
            <a:avLst/>
            <a:gdLst>
              <a:gd name="connsiteX0" fmla="*/ 0 w 5260993"/>
              <a:gd name="connsiteY0" fmla="*/ 3624299 h 3624299"/>
              <a:gd name="connsiteX1" fmla="*/ 5260993 w 5260993"/>
              <a:gd name="connsiteY1" fmla="*/ 3624299 h 3624299"/>
              <a:gd name="connsiteX2" fmla="*/ 5175536 w 5260993"/>
              <a:gd name="connsiteY2" fmla="*/ 3435869 h 3624299"/>
              <a:gd name="connsiteX3" fmla="*/ 2026389 w 5260993"/>
              <a:gd name="connsiteY3" fmla="*/ 0 h 3624299"/>
              <a:gd name="connsiteX4" fmla="*/ 119745 w 5260993"/>
              <a:gd name="connsiteY4" fmla="*/ 1524635 h 3624299"/>
              <a:gd name="connsiteX5" fmla="*/ 0 w 5260993"/>
              <a:gd name="connsiteY5" fmla="*/ 1679332 h 3624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60993" h="3624299">
                <a:moveTo>
                  <a:pt x="0" y="3624299"/>
                </a:moveTo>
                <a:lnTo>
                  <a:pt x="5260993" y="3624299"/>
                </a:lnTo>
                <a:lnTo>
                  <a:pt x="5175536" y="3435869"/>
                </a:lnTo>
                <a:cubicBezTo>
                  <a:pt x="4468341" y="1981042"/>
                  <a:pt x="2825801" y="0"/>
                  <a:pt x="2026389" y="0"/>
                </a:cubicBezTo>
                <a:cubicBezTo>
                  <a:pt x="1560067" y="0"/>
                  <a:pt x="806845" y="674105"/>
                  <a:pt x="119745" y="1524635"/>
                </a:cubicBezTo>
                <a:lnTo>
                  <a:pt x="0" y="1679332"/>
                </a:lnTo>
                <a:close/>
              </a:path>
            </a:pathLst>
          </a:custGeom>
          <a:solidFill>
            <a:srgbClr val="007144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9693FF5-016A-7551-1023-567FA37133D4}"/>
              </a:ext>
            </a:extLst>
          </p:cNvPr>
          <p:cNvSpPr/>
          <p:nvPr/>
        </p:nvSpPr>
        <p:spPr>
          <a:xfrm flipH="1">
            <a:off x="6931007" y="3233700"/>
            <a:ext cx="5260993" cy="3624299"/>
          </a:xfrm>
          <a:custGeom>
            <a:avLst/>
            <a:gdLst>
              <a:gd name="connsiteX0" fmla="*/ 0 w 5260993"/>
              <a:gd name="connsiteY0" fmla="*/ 3624299 h 3624299"/>
              <a:gd name="connsiteX1" fmla="*/ 5260993 w 5260993"/>
              <a:gd name="connsiteY1" fmla="*/ 3624299 h 3624299"/>
              <a:gd name="connsiteX2" fmla="*/ 5175536 w 5260993"/>
              <a:gd name="connsiteY2" fmla="*/ 3435869 h 3624299"/>
              <a:gd name="connsiteX3" fmla="*/ 2026389 w 5260993"/>
              <a:gd name="connsiteY3" fmla="*/ 0 h 3624299"/>
              <a:gd name="connsiteX4" fmla="*/ 119745 w 5260993"/>
              <a:gd name="connsiteY4" fmla="*/ 1524635 h 3624299"/>
              <a:gd name="connsiteX5" fmla="*/ 0 w 5260993"/>
              <a:gd name="connsiteY5" fmla="*/ 1679332 h 3624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60993" h="3624299">
                <a:moveTo>
                  <a:pt x="0" y="3624299"/>
                </a:moveTo>
                <a:lnTo>
                  <a:pt x="5260993" y="3624299"/>
                </a:lnTo>
                <a:lnTo>
                  <a:pt x="5175536" y="3435869"/>
                </a:lnTo>
                <a:cubicBezTo>
                  <a:pt x="4468341" y="1981042"/>
                  <a:pt x="2825801" y="0"/>
                  <a:pt x="2026389" y="0"/>
                </a:cubicBezTo>
                <a:cubicBezTo>
                  <a:pt x="1560067" y="0"/>
                  <a:pt x="806845" y="674105"/>
                  <a:pt x="119745" y="1524635"/>
                </a:cubicBezTo>
                <a:lnTo>
                  <a:pt x="0" y="1679332"/>
                </a:lnTo>
                <a:close/>
              </a:path>
            </a:pathLst>
          </a:custGeom>
          <a:solidFill>
            <a:srgbClr val="A20417"/>
          </a:solidFill>
          <a:ln>
            <a:noFill/>
          </a:ln>
          <a:effectLst>
            <a:outerShdw blurRad="127000" dist="635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7F22DC2-1FBF-714B-2E8B-3697616F5B27}"/>
              </a:ext>
            </a:extLst>
          </p:cNvPr>
          <p:cNvSpPr/>
          <p:nvPr/>
        </p:nvSpPr>
        <p:spPr>
          <a:xfrm>
            <a:off x="515938" y="6151070"/>
            <a:ext cx="10942637" cy="3678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rgbClr val="00714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rgbClr val="A2041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59E4EC8-3038-6A9B-F4E0-9021D12210C9}"/>
              </a:ext>
            </a:extLst>
          </p:cNvPr>
          <p:cNvCxnSpPr>
            <a:cxnSpLocks/>
          </p:cNvCxnSpPr>
          <p:nvPr/>
        </p:nvCxnSpPr>
        <p:spPr>
          <a:xfrm>
            <a:off x="2133600" y="6335001"/>
            <a:ext cx="8908716" cy="0"/>
          </a:xfrm>
          <a:prstGeom prst="line">
            <a:avLst/>
          </a:prstGeom>
          <a:ln>
            <a:gradFill flip="none" rotWithShape="1">
              <a:gsLst>
                <a:gs pos="0">
                  <a:srgbClr val="007144"/>
                </a:gs>
                <a:gs pos="100000">
                  <a:srgbClr val="A20417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A2952FE-3E7F-6EF8-ACFE-5B64A7889722}"/>
              </a:ext>
            </a:extLst>
          </p:cNvPr>
          <p:cNvSpPr/>
          <p:nvPr/>
        </p:nvSpPr>
        <p:spPr>
          <a:xfrm>
            <a:off x="515938" y="1510301"/>
            <a:ext cx="10131041" cy="25585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41300" dist="38100" dir="8100000" algn="tr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19000A69-FBF3-9B88-2041-08F84FF98844}"/>
              </a:ext>
            </a:extLst>
          </p:cNvPr>
          <p:cNvSpPr/>
          <p:nvPr/>
        </p:nvSpPr>
        <p:spPr>
          <a:xfrm rot="16200000">
            <a:off x="4667656" y="-3288686"/>
            <a:ext cx="1202078" cy="9505514"/>
          </a:xfrm>
          <a:prstGeom prst="round2SameRect">
            <a:avLst>
              <a:gd name="adj1" fmla="val 45363"/>
              <a:gd name="adj2" fmla="val 0"/>
            </a:avLst>
          </a:prstGeom>
          <a:gradFill flip="none" rotWithShape="1">
            <a:gsLst>
              <a:gs pos="0">
                <a:srgbClr val="4D0001"/>
              </a:gs>
              <a:gs pos="100000">
                <a:srgbClr val="A20417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9FFBE-81F3-1458-5768-33B8675B9250}"/>
              </a:ext>
            </a:extLst>
          </p:cNvPr>
          <p:cNvSpPr txBox="1"/>
          <p:nvPr/>
        </p:nvSpPr>
        <p:spPr>
          <a:xfrm>
            <a:off x="960482" y="1079350"/>
            <a:ext cx="137569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Cons</a:t>
            </a:r>
            <a:endParaRPr lang="en-ID" sz="4400" b="1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A945A09-0055-3454-CACF-D06E6D0252DB}"/>
              </a:ext>
            </a:extLst>
          </p:cNvPr>
          <p:cNvCxnSpPr>
            <a:cxnSpLocks/>
          </p:cNvCxnSpPr>
          <p:nvPr/>
        </p:nvCxnSpPr>
        <p:spPr>
          <a:xfrm>
            <a:off x="2630496" y="1510301"/>
            <a:ext cx="7046904" cy="0"/>
          </a:xfrm>
          <a:prstGeom prst="line">
            <a:avLst/>
          </a:prstGeom>
          <a:ln>
            <a:solidFill>
              <a:srgbClr val="ED4255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erson in a red shirt&#10;&#10;Description automatically generated with low confidence">
            <a:extLst>
              <a:ext uri="{FF2B5EF4-FFF2-40B4-BE49-F238E27FC236}">
                <a16:creationId xmlns:a16="http://schemas.microsoft.com/office/drawing/2014/main" id="{91B4E922-3D97-A8F4-4A17-8E1AD6D522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152189" y="44669"/>
            <a:ext cx="4272629" cy="610385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88314F5-F729-FB28-2A7A-DA04D4D4C196}"/>
              </a:ext>
            </a:extLst>
          </p:cNvPr>
          <p:cNvSpPr txBox="1"/>
          <p:nvPr/>
        </p:nvSpPr>
        <p:spPr>
          <a:xfrm>
            <a:off x="1138902" y="2176680"/>
            <a:ext cx="719421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consectetu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dipiscing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ellentes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id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ac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rhonc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atti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ligul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ementu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ect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Integer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consectetu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u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dui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liqu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lla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vitae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qua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eifend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ellentes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u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Suspendiss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ex. Donec ferment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justo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nc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pharetr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eo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apib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ari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lla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facilisi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raesen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liqu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e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ra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ac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lacera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se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atti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a. Na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convallis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is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u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pharetra.</a:t>
            </a:r>
            <a:endParaRPr lang="en-ID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C4CCF8-1125-C209-C0B4-F3DEA2837184}"/>
              </a:ext>
            </a:extLst>
          </p:cNvPr>
          <p:cNvSpPr/>
          <p:nvPr/>
        </p:nvSpPr>
        <p:spPr>
          <a:xfrm>
            <a:off x="558007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A1BF0C5-E89E-E0B7-4A91-2F2CF86973DC}"/>
              </a:ext>
            </a:extLst>
          </p:cNvPr>
          <p:cNvGrpSpPr/>
          <p:nvPr/>
        </p:nvGrpSpPr>
        <p:grpSpPr>
          <a:xfrm>
            <a:off x="1288391" y="4216964"/>
            <a:ext cx="839091" cy="839091"/>
            <a:chOff x="9277350" y="-850900"/>
            <a:chExt cx="1243118" cy="1243118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6779CA5-31CC-1369-1979-341429D9C067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C6BFD1-F83B-AA1C-82AE-E4EDDD1A8D07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DC801781-51C6-5A75-EABE-FA8584C1961A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29" name="Freeform 30">
                <a:extLst>
                  <a:ext uri="{FF2B5EF4-FFF2-40B4-BE49-F238E27FC236}">
                    <a16:creationId xmlns:a16="http://schemas.microsoft.com/office/drawing/2014/main" id="{CE749F55-5D52-66E0-66AA-52A3769C2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5EB7F679-E97D-E280-050C-956973EF42B9}"/>
              </a:ext>
            </a:extLst>
          </p:cNvPr>
          <p:cNvSpPr/>
          <p:nvPr/>
        </p:nvSpPr>
        <p:spPr>
          <a:xfrm>
            <a:off x="3461409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AC92120-84B0-4E01-D266-AA8BCC6D4151}"/>
              </a:ext>
            </a:extLst>
          </p:cNvPr>
          <p:cNvGrpSpPr/>
          <p:nvPr/>
        </p:nvGrpSpPr>
        <p:grpSpPr>
          <a:xfrm>
            <a:off x="4191793" y="4216964"/>
            <a:ext cx="839091" cy="839091"/>
            <a:chOff x="9277350" y="-850900"/>
            <a:chExt cx="1243118" cy="1243118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7FFBC85-2188-A7F5-4F79-2BB5567D9BE5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41E3E93-8863-D75E-451F-451003C389BA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3D0CF336-3FEA-BFA0-A6A3-540256E4941D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42" name="Freeform 30">
                <a:extLst>
                  <a:ext uri="{FF2B5EF4-FFF2-40B4-BE49-F238E27FC236}">
                    <a16:creationId xmlns:a16="http://schemas.microsoft.com/office/drawing/2014/main" id="{19651ED5-3929-F423-F6A7-389BFDA55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B59290B1-A6F3-2B22-B3E0-B5512E5B9C6B}"/>
              </a:ext>
            </a:extLst>
          </p:cNvPr>
          <p:cNvSpPr/>
          <p:nvPr/>
        </p:nvSpPr>
        <p:spPr>
          <a:xfrm>
            <a:off x="6364811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7CB9E47-7382-A7E5-F2CC-5AD461CED5CA}"/>
              </a:ext>
            </a:extLst>
          </p:cNvPr>
          <p:cNvGrpSpPr/>
          <p:nvPr/>
        </p:nvGrpSpPr>
        <p:grpSpPr>
          <a:xfrm>
            <a:off x="7095195" y="4216964"/>
            <a:ext cx="839091" cy="839091"/>
            <a:chOff x="9277350" y="-850900"/>
            <a:chExt cx="1243118" cy="1243118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559E80-12C0-857E-A972-489CC63526AE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89616E0-272B-5B31-223A-F75A6BD34FEE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09F0F65A-9828-DF3A-C478-97FF02721C88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27B9A678-7992-4B55-0D94-C69C2E66C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6F71CC-69B1-A5AD-FD80-ECD77326ECF8}"/>
              </a:ext>
            </a:extLst>
          </p:cNvPr>
          <p:cNvGrpSpPr/>
          <p:nvPr/>
        </p:nvGrpSpPr>
        <p:grpSpPr>
          <a:xfrm rot="1800000">
            <a:off x="11149393" y="6041142"/>
            <a:ext cx="594932" cy="587718"/>
            <a:chOff x="11149393" y="6041142"/>
            <a:chExt cx="594932" cy="58771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B63563A-B4CC-A586-B024-FEFFA915DF36}"/>
                </a:ext>
              </a:extLst>
            </p:cNvPr>
            <p:cNvSpPr/>
            <p:nvPr/>
          </p:nvSpPr>
          <p:spPr>
            <a:xfrm>
              <a:off x="11149393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5A09AC-0667-3108-0E7C-B35F153E1D51}"/>
                </a:ext>
              </a:extLst>
            </p:cNvPr>
            <p:cNvSpPr/>
            <p:nvPr/>
          </p:nvSpPr>
          <p:spPr>
            <a:xfrm flipH="1">
              <a:off x="11482609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F2E8B59D-30F8-40B7-0253-1419CB0E3AAA}"/>
              </a:ext>
            </a:extLst>
          </p:cNvPr>
          <p:cNvSpPr/>
          <p:nvPr/>
        </p:nvSpPr>
        <p:spPr>
          <a:xfrm>
            <a:off x="11238493" y="6126637"/>
            <a:ext cx="416733" cy="4167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29E7BB6E-32ED-BF1F-7033-AC5EA3C3E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12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869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97AFE74-247B-3A8A-2BA1-8FFA1F72A2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6">
            <a:extLst>
              <a:ext uri="{FF2B5EF4-FFF2-40B4-BE49-F238E27FC236}">
                <a16:creationId xmlns:a16="http://schemas.microsoft.com/office/drawing/2014/main" id="{9FD0152B-FB7C-371D-F1BB-8AA78A2A7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70A7E70-6F8E-4E53-A808-D1D149B516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bg1">
                  <a:alpha val="0"/>
                </a:schemeClr>
              </a:gs>
              <a:gs pos="74000">
                <a:schemeClr val="bg1">
                  <a:alpha val="86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4F055B-AF55-5B2A-4BD9-4D9810D173DE}"/>
              </a:ext>
            </a:extLst>
          </p:cNvPr>
          <p:cNvGrpSpPr/>
          <p:nvPr/>
        </p:nvGrpSpPr>
        <p:grpSpPr>
          <a:xfrm>
            <a:off x="0" y="995166"/>
            <a:ext cx="11140440" cy="4867669"/>
            <a:chOff x="1051560" y="1645920"/>
            <a:chExt cx="11140440" cy="4867669"/>
          </a:xfrm>
        </p:grpSpPr>
        <p:sp>
          <p:nvSpPr>
            <p:cNvPr id="4" name="Rectangle: Single Corner Snipped 3">
              <a:extLst>
                <a:ext uri="{FF2B5EF4-FFF2-40B4-BE49-F238E27FC236}">
                  <a16:creationId xmlns:a16="http://schemas.microsoft.com/office/drawing/2014/main" id="{57A6E338-38A0-C5BE-1110-8C05304EB98D}"/>
                </a:ext>
              </a:extLst>
            </p:cNvPr>
            <p:cNvSpPr/>
            <p:nvPr/>
          </p:nvSpPr>
          <p:spPr>
            <a:xfrm>
              <a:off x="1051560" y="1645920"/>
              <a:ext cx="11140440" cy="4573668"/>
            </a:xfrm>
            <a:prstGeom prst="snip1Rect">
              <a:avLst>
                <a:gd name="adj" fmla="val 13425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62000">
                  <a:schemeClr val="bg1"/>
                </a:gs>
              </a:gsLst>
              <a:lin ang="8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Diagonal Corners Snipped 15">
              <a:extLst>
                <a:ext uri="{FF2B5EF4-FFF2-40B4-BE49-F238E27FC236}">
                  <a16:creationId xmlns:a16="http://schemas.microsoft.com/office/drawing/2014/main" id="{C3BCE836-FAE6-BC5D-4168-73A9C46A6D51}"/>
                </a:ext>
              </a:extLst>
            </p:cNvPr>
            <p:cNvSpPr/>
            <p:nvPr/>
          </p:nvSpPr>
          <p:spPr>
            <a:xfrm>
              <a:off x="2103120" y="2394347"/>
              <a:ext cx="10088880" cy="3825241"/>
            </a:xfrm>
            <a:prstGeom prst="snip2DiagRect">
              <a:avLst/>
            </a:prstGeom>
            <a:gradFill>
              <a:gsLst>
                <a:gs pos="40000">
                  <a:srgbClr val="A20417">
                    <a:alpha val="89000"/>
                  </a:srgbClr>
                </a:gs>
                <a:gs pos="100000">
                  <a:srgbClr val="ED4255">
                    <a:alpha val="86000"/>
                  </a:srgbClr>
                </a:gs>
              </a:gsLst>
              <a:lin ang="8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64E2D7A-A9E8-2426-0FFF-5120ADC35B60}"/>
                </a:ext>
              </a:extLst>
            </p:cNvPr>
            <p:cNvSpPr txBox="1"/>
            <p:nvPr/>
          </p:nvSpPr>
          <p:spPr>
            <a:xfrm>
              <a:off x="4466827" y="3567695"/>
              <a:ext cx="447911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b="1" dirty="0">
                  <a:solidFill>
                    <a:schemeClr val="bg1"/>
                  </a:solidFill>
                  <a:latin typeface="+mj-lt"/>
                </a:rPr>
                <a:t>THANKYOU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19886A-92C1-857A-F596-6813BFCB62A3}"/>
                </a:ext>
              </a:extLst>
            </p:cNvPr>
            <p:cNvCxnSpPr>
              <a:cxnSpLocks/>
            </p:cNvCxnSpPr>
            <p:nvPr/>
          </p:nvCxnSpPr>
          <p:spPr>
            <a:xfrm>
              <a:off x="2448559" y="4790049"/>
              <a:ext cx="7460566" cy="0"/>
            </a:xfrm>
            <a:prstGeom prst="line">
              <a:avLst/>
            </a:prstGeom>
            <a:ln w="25400">
              <a:solidFill>
                <a:schemeClr val="bg1"/>
              </a:solidFill>
              <a:headEnd type="none" w="lg" len="lg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211E26B-8FFD-CA4D-B22A-EE31C452D02A}"/>
                </a:ext>
              </a:extLst>
            </p:cNvPr>
            <p:cNvGrpSpPr/>
            <p:nvPr/>
          </p:nvGrpSpPr>
          <p:grpSpPr>
            <a:xfrm>
              <a:off x="4451587" y="2011680"/>
              <a:ext cx="3429000" cy="838200"/>
              <a:chOff x="7458229" y="1996440"/>
              <a:chExt cx="3429000" cy="838200"/>
            </a:xfrm>
          </p:grpSpPr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9BE734DA-4FEB-3EA0-D4BE-CAFC7272AE13}"/>
                  </a:ext>
                </a:extLst>
              </p:cNvPr>
              <p:cNvSpPr/>
              <p:nvPr/>
            </p:nvSpPr>
            <p:spPr>
              <a:xfrm>
                <a:off x="7458229" y="1996440"/>
                <a:ext cx="3429000" cy="8382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032" name="Picture 8" descr="Profil 24slides &amp; Info Karir 2022 | Glints">
                <a:extLst>
                  <a:ext uri="{FF2B5EF4-FFF2-40B4-BE49-F238E27FC236}">
                    <a16:creationId xmlns:a16="http://schemas.microsoft.com/office/drawing/2014/main" id="{5D7F8B6C-F593-3EEA-F43B-FF2893303B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319289" y="2153920"/>
                <a:ext cx="1706880" cy="5232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8F34CF-AD2B-14B4-25EC-4C3F64C2D6E2}"/>
                </a:ext>
              </a:extLst>
            </p:cNvPr>
            <p:cNvGrpSpPr/>
            <p:nvPr/>
          </p:nvGrpSpPr>
          <p:grpSpPr>
            <a:xfrm>
              <a:off x="4866114" y="5846052"/>
              <a:ext cx="667537" cy="667537"/>
              <a:chOff x="7507715" y="5632692"/>
              <a:chExt cx="667537" cy="667537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891E4A94-F72A-219A-3627-B539D0C7073D}"/>
                  </a:ext>
                </a:extLst>
              </p:cNvPr>
              <p:cNvSpPr/>
              <p:nvPr/>
            </p:nvSpPr>
            <p:spPr>
              <a:xfrm>
                <a:off x="7507715" y="5632692"/>
                <a:ext cx="667537" cy="667537"/>
              </a:xfrm>
              <a:prstGeom prst="ellipse">
                <a:avLst/>
              </a:prstGeom>
              <a:solidFill>
                <a:srgbClr val="007144"/>
              </a:solidFill>
              <a:ln w="476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7" name="Graphic 36" descr="Thumbs up sign outline">
                <a:extLst>
                  <a:ext uri="{FF2B5EF4-FFF2-40B4-BE49-F238E27FC236}">
                    <a16:creationId xmlns:a16="http://schemas.microsoft.com/office/drawing/2014/main" id="{CAAE0B05-49FB-0BA5-6929-186DAE8592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637712" y="5762689"/>
                <a:ext cx="407544" cy="407544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A57C7A8-67BD-04C5-36DB-6E31537AC5A2}"/>
                </a:ext>
              </a:extLst>
            </p:cNvPr>
            <p:cNvGrpSpPr/>
            <p:nvPr/>
          </p:nvGrpSpPr>
          <p:grpSpPr>
            <a:xfrm>
              <a:off x="5825227" y="5846052"/>
              <a:ext cx="667537" cy="667537"/>
              <a:chOff x="8238228" y="5632692"/>
              <a:chExt cx="667537" cy="667537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4F0C3DED-CCBB-EAD4-A234-50173D6B40D5}"/>
                  </a:ext>
                </a:extLst>
              </p:cNvPr>
              <p:cNvSpPr/>
              <p:nvPr/>
            </p:nvSpPr>
            <p:spPr>
              <a:xfrm>
                <a:off x="8238228" y="5632692"/>
                <a:ext cx="667537" cy="667537"/>
              </a:xfrm>
              <a:prstGeom prst="ellipse">
                <a:avLst/>
              </a:prstGeom>
              <a:solidFill>
                <a:srgbClr val="ED4255"/>
              </a:solidFill>
              <a:ln w="476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39" name="Graphic 38" descr="Thumbs Down outline">
                <a:extLst>
                  <a:ext uri="{FF2B5EF4-FFF2-40B4-BE49-F238E27FC236}">
                    <a16:creationId xmlns:a16="http://schemas.microsoft.com/office/drawing/2014/main" id="{7C9F2D25-A48C-DB7C-5759-AB3E831B85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8368224" y="5762689"/>
                <a:ext cx="407544" cy="40754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10701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3693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6003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310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ittin people beside table inside room">
            <a:extLst>
              <a:ext uri="{FF2B5EF4-FFF2-40B4-BE49-F238E27FC236}">
                <a16:creationId xmlns:a16="http://schemas.microsoft.com/office/drawing/2014/main" id="{17D0C162-C46F-F378-C4EF-D91AA1FD50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234440"/>
            <a:ext cx="12192000" cy="4693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B3BE9CCD-DC74-EC5F-2491-60236BD9A3D6}"/>
              </a:ext>
            </a:extLst>
          </p:cNvPr>
          <p:cNvSpPr/>
          <p:nvPr/>
        </p:nvSpPr>
        <p:spPr>
          <a:xfrm>
            <a:off x="0" y="1227109"/>
            <a:ext cx="12192000" cy="4699129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100000">
                <a:schemeClr val="tx1">
                  <a:alpha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3E2C79D4-48C7-2DF2-AB96-C232CA63AA39}"/>
              </a:ext>
            </a:extLst>
          </p:cNvPr>
          <p:cNvSpPr/>
          <p:nvPr/>
        </p:nvSpPr>
        <p:spPr>
          <a:xfrm>
            <a:off x="511216" y="1227109"/>
            <a:ext cx="11169569" cy="4560425"/>
          </a:xfrm>
          <a:prstGeom prst="round2SameRect">
            <a:avLst>
              <a:gd name="adj1" fmla="val 0"/>
              <a:gd name="adj2" fmla="val 10660"/>
            </a:avLst>
          </a:prstGeom>
          <a:gradFill>
            <a:gsLst>
              <a:gs pos="0">
                <a:schemeClr val="bg1">
                  <a:alpha val="5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24FF348-8230-3CAF-84AD-EC9DB53BF61F}"/>
              </a:ext>
            </a:extLst>
          </p:cNvPr>
          <p:cNvSpPr/>
          <p:nvPr/>
        </p:nvSpPr>
        <p:spPr>
          <a:xfrm>
            <a:off x="939403" y="838200"/>
            <a:ext cx="10313194" cy="822960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19A39F-4AF2-1A34-D6A0-FA6B0C460411}"/>
              </a:ext>
            </a:extLst>
          </p:cNvPr>
          <p:cNvSpPr/>
          <p:nvPr/>
        </p:nvSpPr>
        <p:spPr>
          <a:xfrm>
            <a:off x="515938" y="6151070"/>
            <a:ext cx="10942637" cy="3678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rgbClr val="00714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rgbClr val="A2041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E1FDE03-DEB9-3CEC-7140-975CB4C6B4B2}"/>
              </a:ext>
            </a:extLst>
          </p:cNvPr>
          <p:cNvSpPr/>
          <p:nvPr/>
        </p:nvSpPr>
        <p:spPr>
          <a:xfrm>
            <a:off x="11238493" y="6126637"/>
            <a:ext cx="416733" cy="4167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CBDFEAB-902D-905B-7CEC-59C4A9A00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5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ED6A2C2-272B-850E-288F-D422F9A09B62}"/>
              </a:ext>
            </a:extLst>
          </p:cNvPr>
          <p:cNvCxnSpPr>
            <a:cxnSpLocks/>
          </p:cNvCxnSpPr>
          <p:nvPr/>
        </p:nvCxnSpPr>
        <p:spPr>
          <a:xfrm>
            <a:off x="2133600" y="6335001"/>
            <a:ext cx="8908716" cy="0"/>
          </a:xfrm>
          <a:prstGeom prst="line">
            <a:avLst/>
          </a:prstGeom>
          <a:ln>
            <a:gradFill flip="none" rotWithShape="1">
              <a:gsLst>
                <a:gs pos="0">
                  <a:srgbClr val="007144"/>
                </a:gs>
                <a:gs pos="100000">
                  <a:srgbClr val="A20417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DDAF3FD-217F-A724-9893-F3D5443A8AE5}"/>
              </a:ext>
            </a:extLst>
          </p:cNvPr>
          <p:cNvSpPr/>
          <p:nvPr/>
        </p:nvSpPr>
        <p:spPr>
          <a:xfrm>
            <a:off x="1376482" y="990600"/>
            <a:ext cx="9439037" cy="51816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8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F71DB07-B3E0-763E-19E1-A01451C9FB02}"/>
              </a:ext>
            </a:extLst>
          </p:cNvPr>
          <p:cNvSpPr/>
          <p:nvPr/>
        </p:nvSpPr>
        <p:spPr>
          <a:xfrm>
            <a:off x="1036320" y="922020"/>
            <a:ext cx="655320" cy="65532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3BAB11-C046-9B4F-98FF-A81FC2B8D1A5}"/>
              </a:ext>
            </a:extLst>
          </p:cNvPr>
          <p:cNvSpPr/>
          <p:nvPr/>
        </p:nvSpPr>
        <p:spPr>
          <a:xfrm>
            <a:off x="10469880" y="922020"/>
            <a:ext cx="655320" cy="655320"/>
          </a:xfrm>
          <a:prstGeom prst="ellipse">
            <a:avLst/>
          </a:pr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D66E170-FAB1-6CFB-BEF1-1C84BACD6662}"/>
              </a:ext>
            </a:extLst>
          </p:cNvPr>
          <p:cNvCxnSpPr>
            <a:cxnSpLocks/>
          </p:cNvCxnSpPr>
          <p:nvPr/>
        </p:nvCxnSpPr>
        <p:spPr>
          <a:xfrm>
            <a:off x="6096000" y="1250066"/>
            <a:ext cx="0" cy="4497591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 descr="Thumbs up sign outline">
            <a:extLst>
              <a:ext uri="{FF2B5EF4-FFF2-40B4-BE49-F238E27FC236}">
                <a16:creationId xmlns:a16="http://schemas.microsoft.com/office/drawing/2014/main" id="{5A3DBD85-D79A-757B-18D7-69A5961E4B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3768" y="1045908"/>
            <a:ext cx="407544" cy="407544"/>
          </a:xfrm>
          <a:prstGeom prst="rect">
            <a:avLst/>
          </a:prstGeom>
        </p:spPr>
      </p:pic>
      <p:pic>
        <p:nvPicPr>
          <p:cNvPr id="24" name="Graphic 23" descr="Thumbs Down outline">
            <a:extLst>
              <a:ext uri="{FF2B5EF4-FFF2-40B4-BE49-F238E27FC236}">
                <a16:creationId xmlns:a16="http://schemas.microsoft.com/office/drawing/2014/main" id="{E8D1DC99-3746-B3BF-D087-EA01CF7C8A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0208" y="1045908"/>
            <a:ext cx="407544" cy="407544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91876ED-93B4-DC18-0F72-E2C5A6ADA6D6}"/>
              </a:ext>
            </a:extLst>
          </p:cNvPr>
          <p:cNvSpPr/>
          <p:nvPr/>
        </p:nvSpPr>
        <p:spPr>
          <a:xfrm>
            <a:off x="1630680" y="2112159"/>
            <a:ext cx="487680" cy="4876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0375503-2FA4-A0BE-9B58-2F87EB4465F0}"/>
              </a:ext>
            </a:extLst>
          </p:cNvPr>
          <p:cNvSpPr/>
          <p:nvPr/>
        </p:nvSpPr>
        <p:spPr>
          <a:xfrm>
            <a:off x="1630680" y="3485689"/>
            <a:ext cx="487680" cy="4876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E373C5E-0B8D-919D-B095-789B06AD0CFD}"/>
              </a:ext>
            </a:extLst>
          </p:cNvPr>
          <p:cNvSpPr/>
          <p:nvPr/>
        </p:nvSpPr>
        <p:spPr>
          <a:xfrm>
            <a:off x="1630680" y="4859219"/>
            <a:ext cx="487680" cy="4876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3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BED4BA4-57A7-E279-EE78-CC42CA502BC5}"/>
              </a:ext>
            </a:extLst>
          </p:cNvPr>
          <p:cNvSpPr/>
          <p:nvPr/>
        </p:nvSpPr>
        <p:spPr>
          <a:xfrm>
            <a:off x="10287000" y="2112159"/>
            <a:ext cx="487680" cy="487680"/>
          </a:xfrm>
          <a:prstGeom prst="ellipse">
            <a:avLst/>
          </a:pr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F596438-8D22-85BB-B622-9E53A8B8143E}"/>
              </a:ext>
            </a:extLst>
          </p:cNvPr>
          <p:cNvSpPr/>
          <p:nvPr/>
        </p:nvSpPr>
        <p:spPr>
          <a:xfrm>
            <a:off x="10287000" y="3485689"/>
            <a:ext cx="487680" cy="487680"/>
          </a:xfrm>
          <a:prstGeom prst="ellipse">
            <a:avLst/>
          </a:pr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00317E7-B734-606D-2E70-5530CC90015C}"/>
              </a:ext>
            </a:extLst>
          </p:cNvPr>
          <p:cNvSpPr/>
          <p:nvPr/>
        </p:nvSpPr>
        <p:spPr>
          <a:xfrm>
            <a:off x="10287000" y="4859219"/>
            <a:ext cx="487680" cy="487680"/>
          </a:xfrm>
          <a:prstGeom prst="ellipse">
            <a:avLst/>
          </a:prstGeom>
          <a:solidFill>
            <a:srgbClr val="007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033350-EE66-5389-4DC0-93C7808FDDFD}"/>
              </a:ext>
            </a:extLst>
          </p:cNvPr>
          <p:cNvSpPr txBox="1"/>
          <p:nvPr/>
        </p:nvSpPr>
        <p:spPr>
          <a:xfrm>
            <a:off x="2987040" y="988070"/>
            <a:ext cx="9412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Con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AFF156E-E745-6E29-030F-D7E8F16E86C0}"/>
              </a:ext>
            </a:extLst>
          </p:cNvPr>
          <p:cNvSpPr txBox="1"/>
          <p:nvPr/>
        </p:nvSpPr>
        <p:spPr>
          <a:xfrm>
            <a:off x="8305800" y="988070"/>
            <a:ext cx="8331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Pro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7B2D04-F166-54B9-A556-DDF6F95D8E37}"/>
              </a:ext>
            </a:extLst>
          </p:cNvPr>
          <p:cNvSpPr txBox="1"/>
          <p:nvPr/>
        </p:nvSpPr>
        <p:spPr>
          <a:xfrm>
            <a:off x="2301240" y="198666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DCFA20B-42E5-BA50-F91A-DD68E002AB39}"/>
              </a:ext>
            </a:extLst>
          </p:cNvPr>
          <p:cNvSpPr txBox="1"/>
          <p:nvPr/>
        </p:nvSpPr>
        <p:spPr>
          <a:xfrm>
            <a:off x="2301240" y="336019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F0F951-2F61-F692-8E10-659C8F36DA21}"/>
              </a:ext>
            </a:extLst>
          </p:cNvPr>
          <p:cNvSpPr txBox="1"/>
          <p:nvPr/>
        </p:nvSpPr>
        <p:spPr>
          <a:xfrm>
            <a:off x="2301240" y="473372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0B3C664-67F5-782A-6837-02C047467122}"/>
              </a:ext>
            </a:extLst>
          </p:cNvPr>
          <p:cNvSpPr txBox="1"/>
          <p:nvPr/>
        </p:nvSpPr>
        <p:spPr>
          <a:xfrm>
            <a:off x="6535783" y="198666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0E4916-8CE6-7512-DD2B-67741D76A8F5}"/>
              </a:ext>
            </a:extLst>
          </p:cNvPr>
          <p:cNvSpPr txBox="1"/>
          <p:nvPr/>
        </p:nvSpPr>
        <p:spPr>
          <a:xfrm>
            <a:off x="6535783" y="336019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C2E34DA-7244-D2E0-2D0E-AFF4F35059EC}"/>
              </a:ext>
            </a:extLst>
          </p:cNvPr>
          <p:cNvSpPr txBox="1"/>
          <p:nvPr/>
        </p:nvSpPr>
        <p:spPr>
          <a:xfrm>
            <a:off x="6535783" y="4733727"/>
            <a:ext cx="34464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, sed do </a:t>
            </a:r>
            <a:r>
              <a:rPr lang="en-US" sz="1400" dirty="0" err="1">
                <a:solidFill>
                  <a:schemeClr val="bg1"/>
                </a:solidFill>
              </a:rPr>
              <a:t>eiusmod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mpo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ncididu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</a:rPr>
              <a:t>aliqua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F3EAA38-9777-B645-0209-0AF8ACC787FD}"/>
              </a:ext>
            </a:extLst>
          </p:cNvPr>
          <p:cNvCxnSpPr>
            <a:cxnSpLocks/>
          </p:cNvCxnSpPr>
          <p:nvPr/>
        </p:nvCxnSpPr>
        <p:spPr>
          <a:xfrm>
            <a:off x="1684135" y="3042764"/>
            <a:ext cx="882373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4703B15-6584-0E4C-2823-96C3BBA8BDE2}"/>
              </a:ext>
            </a:extLst>
          </p:cNvPr>
          <p:cNvCxnSpPr>
            <a:cxnSpLocks/>
          </p:cNvCxnSpPr>
          <p:nvPr/>
        </p:nvCxnSpPr>
        <p:spPr>
          <a:xfrm>
            <a:off x="1684135" y="4416294"/>
            <a:ext cx="882373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5536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" name="Group 277">
            <a:extLst>
              <a:ext uri="{FF2B5EF4-FFF2-40B4-BE49-F238E27FC236}">
                <a16:creationId xmlns:a16="http://schemas.microsoft.com/office/drawing/2014/main" id="{6E729427-4ABD-C6DF-5F8E-BCF5739E49F7}"/>
              </a:ext>
            </a:extLst>
          </p:cNvPr>
          <p:cNvGrpSpPr/>
          <p:nvPr/>
        </p:nvGrpSpPr>
        <p:grpSpPr>
          <a:xfrm>
            <a:off x="6314887" y="2479505"/>
            <a:ext cx="5361176" cy="1669416"/>
            <a:chOff x="515938" y="2479505"/>
            <a:chExt cx="11160125" cy="1669416"/>
          </a:xfrm>
        </p:grpSpPr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05BF07C1-4102-62AA-EA29-5B97A6988A52}"/>
                </a:ext>
              </a:extLst>
            </p:cNvPr>
            <p:cNvCxnSpPr/>
            <p:nvPr/>
          </p:nvCxnSpPr>
          <p:spPr>
            <a:xfrm>
              <a:off x="515938" y="4148921"/>
              <a:ext cx="111601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B60573F9-942C-A91D-AA77-6E9B1FFC759F}"/>
                </a:ext>
              </a:extLst>
            </p:cNvPr>
            <p:cNvCxnSpPr/>
            <p:nvPr/>
          </p:nvCxnSpPr>
          <p:spPr>
            <a:xfrm>
              <a:off x="515938" y="2479505"/>
              <a:ext cx="111601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Picture 124" descr="A person sitting at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E2D0AE27-3F2B-E278-C7F8-821A289AF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001" t="1753" r="37527" b="16943"/>
          <a:stretch>
            <a:fillRect/>
          </a:stretch>
        </p:blipFill>
        <p:spPr>
          <a:xfrm>
            <a:off x="6293320" y="774885"/>
            <a:ext cx="2309901" cy="5116091"/>
          </a:xfrm>
          <a:custGeom>
            <a:avLst/>
            <a:gdLst>
              <a:gd name="connsiteX0" fmla="*/ 0 w 2030216"/>
              <a:gd name="connsiteY0" fmla="*/ 0 h 4496630"/>
              <a:gd name="connsiteX1" fmla="*/ 187727 w 2030216"/>
              <a:gd name="connsiteY1" fmla="*/ 18929 h 4496630"/>
              <a:gd name="connsiteX2" fmla="*/ 2030216 w 2030216"/>
              <a:gd name="connsiteY2" fmla="*/ 2279561 h 4496630"/>
              <a:gd name="connsiteX3" fmla="*/ 381702 w 2030216"/>
              <a:gd name="connsiteY3" fmla="*/ 4491606 h 4496630"/>
              <a:gd name="connsiteX4" fmla="*/ 361645 w 2030216"/>
              <a:gd name="connsiteY4" fmla="*/ 4496630 h 4496630"/>
              <a:gd name="connsiteX5" fmla="*/ 0 w 2030216"/>
              <a:gd name="connsiteY5" fmla="*/ 4496630 h 4496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30216" h="4496630">
                <a:moveTo>
                  <a:pt x="0" y="0"/>
                </a:moveTo>
                <a:lnTo>
                  <a:pt x="187727" y="18929"/>
                </a:lnTo>
                <a:cubicBezTo>
                  <a:pt x="1239232" y="234093"/>
                  <a:pt x="2030216" y="1164461"/>
                  <a:pt x="2030216" y="2279561"/>
                </a:cubicBezTo>
                <a:cubicBezTo>
                  <a:pt x="2030216" y="3324976"/>
                  <a:pt x="1335016" y="4208013"/>
                  <a:pt x="381702" y="4491606"/>
                </a:cubicBezTo>
                <a:lnTo>
                  <a:pt x="361645" y="4496630"/>
                </a:lnTo>
                <a:lnTo>
                  <a:pt x="0" y="4496630"/>
                </a:lnTo>
                <a:close/>
              </a:path>
            </a:pathLst>
          </a:custGeom>
        </p:spPr>
      </p:pic>
      <p:grpSp>
        <p:nvGrpSpPr>
          <p:cNvPr id="277" name="Group 276">
            <a:extLst>
              <a:ext uri="{FF2B5EF4-FFF2-40B4-BE49-F238E27FC236}">
                <a16:creationId xmlns:a16="http://schemas.microsoft.com/office/drawing/2014/main" id="{517368F7-84E0-9BCA-AC16-E0D10096A416}"/>
              </a:ext>
            </a:extLst>
          </p:cNvPr>
          <p:cNvGrpSpPr/>
          <p:nvPr/>
        </p:nvGrpSpPr>
        <p:grpSpPr>
          <a:xfrm>
            <a:off x="515939" y="2479505"/>
            <a:ext cx="5361176" cy="1669416"/>
            <a:chOff x="515938" y="2479505"/>
            <a:chExt cx="11160125" cy="1669416"/>
          </a:xfrm>
        </p:grpSpPr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3827FA71-5842-FD02-B6EA-B782805AD069}"/>
                </a:ext>
              </a:extLst>
            </p:cNvPr>
            <p:cNvCxnSpPr/>
            <p:nvPr/>
          </p:nvCxnSpPr>
          <p:spPr>
            <a:xfrm>
              <a:off x="515938" y="4148921"/>
              <a:ext cx="111601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86CEA53-C82C-64AA-6B72-2DBDA7E1B141}"/>
                </a:ext>
              </a:extLst>
            </p:cNvPr>
            <p:cNvCxnSpPr/>
            <p:nvPr/>
          </p:nvCxnSpPr>
          <p:spPr>
            <a:xfrm>
              <a:off x="515938" y="2479505"/>
              <a:ext cx="1116012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8" name="Picture 187" descr="A person giving a thumbs up&#10;&#10;Description automatically generated with medium confidence">
            <a:extLst>
              <a:ext uri="{FF2B5EF4-FFF2-40B4-BE49-F238E27FC236}">
                <a16:creationId xmlns:a16="http://schemas.microsoft.com/office/drawing/2014/main" id="{A6E458C9-A841-6533-B35D-9C897A9C106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1974" y="774887"/>
            <a:ext cx="2309902" cy="5116094"/>
          </a:xfrm>
          <a:custGeom>
            <a:avLst/>
            <a:gdLst>
              <a:gd name="connsiteX0" fmla="*/ 1226380 w 1226380"/>
              <a:gd name="connsiteY0" fmla="*/ 0 h 2716251"/>
              <a:gd name="connsiteX1" fmla="*/ 1226380 w 1226380"/>
              <a:gd name="connsiteY1" fmla="*/ 2716251 h 2716251"/>
              <a:gd name="connsiteX2" fmla="*/ 1007924 w 1226380"/>
              <a:gd name="connsiteY2" fmla="*/ 2716251 h 2716251"/>
              <a:gd name="connsiteX3" fmla="*/ 995808 w 1226380"/>
              <a:gd name="connsiteY3" fmla="*/ 2713216 h 2716251"/>
              <a:gd name="connsiteX4" fmla="*/ 0 w 1226380"/>
              <a:gd name="connsiteY4" fmla="*/ 1377000 h 2716251"/>
              <a:gd name="connsiteX5" fmla="*/ 1112981 w 1226380"/>
              <a:gd name="connsiteY5" fmla="*/ 11434 h 2716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6380" h="2716251">
                <a:moveTo>
                  <a:pt x="1226380" y="0"/>
                </a:moveTo>
                <a:lnTo>
                  <a:pt x="1226380" y="2716251"/>
                </a:lnTo>
                <a:lnTo>
                  <a:pt x="1007924" y="2716251"/>
                </a:lnTo>
                <a:lnTo>
                  <a:pt x="995808" y="2713216"/>
                </a:lnTo>
                <a:cubicBezTo>
                  <a:pt x="419946" y="2541908"/>
                  <a:pt x="0" y="2008497"/>
                  <a:pt x="0" y="1377000"/>
                </a:cubicBezTo>
                <a:cubicBezTo>
                  <a:pt x="0" y="703408"/>
                  <a:pt x="477805" y="141407"/>
                  <a:pt x="1112981" y="11434"/>
                </a:cubicBezTo>
                <a:close/>
              </a:path>
            </a:pathLst>
          </a:custGeom>
        </p:spPr>
      </p:pic>
      <p:sp>
        <p:nvSpPr>
          <p:cNvPr id="269" name="Oval 268">
            <a:extLst>
              <a:ext uri="{FF2B5EF4-FFF2-40B4-BE49-F238E27FC236}">
                <a16:creationId xmlns:a16="http://schemas.microsoft.com/office/drawing/2014/main" id="{20617CCB-AF73-FA6D-B09D-64FECC52D214}"/>
              </a:ext>
            </a:extLst>
          </p:cNvPr>
          <p:cNvSpPr/>
          <p:nvPr/>
        </p:nvSpPr>
        <p:spPr>
          <a:xfrm>
            <a:off x="4719145" y="1968062"/>
            <a:ext cx="2753710" cy="275371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8" name="Freeform: Shape 267">
            <a:extLst>
              <a:ext uri="{FF2B5EF4-FFF2-40B4-BE49-F238E27FC236}">
                <a16:creationId xmlns:a16="http://schemas.microsoft.com/office/drawing/2014/main" id="{8B9EB50E-EB51-2AE6-1A07-C7CBE3823271}"/>
              </a:ext>
            </a:extLst>
          </p:cNvPr>
          <p:cNvSpPr/>
          <p:nvPr/>
        </p:nvSpPr>
        <p:spPr>
          <a:xfrm flipH="1">
            <a:off x="6300125" y="1667049"/>
            <a:ext cx="1494338" cy="3355735"/>
          </a:xfrm>
          <a:custGeom>
            <a:avLst/>
            <a:gdLst>
              <a:gd name="connsiteX0" fmla="*/ 1494338 w 1494338"/>
              <a:gd name="connsiteY0" fmla="*/ 0 h 3355735"/>
              <a:gd name="connsiteX1" fmla="*/ 1356162 w 1494338"/>
              <a:gd name="connsiteY1" fmla="*/ 13932 h 3355735"/>
              <a:gd name="connsiteX2" fmla="*/ 0 w 1494338"/>
              <a:gd name="connsiteY2" fmla="*/ 1677868 h 3355735"/>
              <a:gd name="connsiteX3" fmla="*/ 1356162 w 1494338"/>
              <a:gd name="connsiteY3" fmla="*/ 3341809 h 3355735"/>
              <a:gd name="connsiteX4" fmla="*/ 1494338 w 1494338"/>
              <a:gd name="connsiteY4" fmla="*/ 3355735 h 3355735"/>
              <a:gd name="connsiteX5" fmla="*/ 1494338 w 1494338"/>
              <a:gd name="connsiteY5" fmla="*/ 3037946 h 3355735"/>
              <a:gd name="connsiteX6" fmla="*/ 1420979 w 1494338"/>
              <a:gd name="connsiteY6" fmla="*/ 3026750 h 3355735"/>
              <a:gd name="connsiteX7" fmla="*/ 321608 w 1494338"/>
              <a:gd name="connsiteY7" fmla="*/ 1677868 h 3355735"/>
              <a:gd name="connsiteX8" fmla="*/ 1420979 w 1494338"/>
              <a:gd name="connsiteY8" fmla="*/ 328986 h 3355735"/>
              <a:gd name="connsiteX9" fmla="*/ 1494338 w 1494338"/>
              <a:gd name="connsiteY9" fmla="*/ 317790 h 3355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94338" h="3355735">
                <a:moveTo>
                  <a:pt x="1494338" y="0"/>
                </a:moveTo>
                <a:lnTo>
                  <a:pt x="1356162" y="13932"/>
                </a:lnTo>
                <a:cubicBezTo>
                  <a:pt x="582203" y="172304"/>
                  <a:pt x="0" y="857100"/>
                  <a:pt x="0" y="1677868"/>
                </a:cubicBezTo>
                <a:cubicBezTo>
                  <a:pt x="0" y="2498641"/>
                  <a:pt x="582203" y="3183431"/>
                  <a:pt x="1356162" y="3341809"/>
                </a:cubicBezTo>
                <a:lnTo>
                  <a:pt x="1494338" y="3355735"/>
                </a:lnTo>
                <a:lnTo>
                  <a:pt x="1494338" y="3037946"/>
                </a:lnTo>
                <a:lnTo>
                  <a:pt x="1420979" y="3026750"/>
                </a:lnTo>
                <a:cubicBezTo>
                  <a:pt x="793569" y="2898364"/>
                  <a:pt x="321608" y="2343232"/>
                  <a:pt x="321608" y="1677868"/>
                </a:cubicBezTo>
                <a:cubicBezTo>
                  <a:pt x="321608" y="1012504"/>
                  <a:pt x="793569" y="457373"/>
                  <a:pt x="1420979" y="328986"/>
                </a:cubicBezTo>
                <a:lnTo>
                  <a:pt x="1494338" y="317790"/>
                </a:lnTo>
                <a:close/>
              </a:path>
            </a:pathLst>
          </a:custGeom>
          <a:solidFill>
            <a:srgbClr val="A20417"/>
          </a:solidFill>
          <a:ln>
            <a:noFill/>
          </a:ln>
          <a:effectLst>
            <a:outerShdw blurRad="127000" dist="635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6" name="Freeform: Shape 265">
            <a:extLst>
              <a:ext uri="{FF2B5EF4-FFF2-40B4-BE49-F238E27FC236}">
                <a16:creationId xmlns:a16="http://schemas.microsoft.com/office/drawing/2014/main" id="{62BC9C43-989A-10E6-8BC6-ADB95536774F}"/>
              </a:ext>
            </a:extLst>
          </p:cNvPr>
          <p:cNvSpPr/>
          <p:nvPr/>
        </p:nvSpPr>
        <p:spPr>
          <a:xfrm>
            <a:off x="4397538" y="1667049"/>
            <a:ext cx="1494338" cy="3355735"/>
          </a:xfrm>
          <a:custGeom>
            <a:avLst/>
            <a:gdLst>
              <a:gd name="connsiteX0" fmla="*/ 1494338 w 1494338"/>
              <a:gd name="connsiteY0" fmla="*/ 0 h 3355735"/>
              <a:gd name="connsiteX1" fmla="*/ 1494338 w 1494338"/>
              <a:gd name="connsiteY1" fmla="*/ 317790 h 3355735"/>
              <a:gd name="connsiteX2" fmla="*/ 1420978 w 1494338"/>
              <a:gd name="connsiteY2" fmla="*/ 328986 h 3355735"/>
              <a:gd name="connsiteX3" fmla="*/ 321607 w 1494338"/>
              <a:gd name="connsiteY3" fmla="*/ 1677868 h 3355735"/>
              <a:gd name="connsiteX4" fmla="*/ 1420978 w 1494338"/>
              <a:gd name="connsiteY4" fmla="*/ 3026750 h 3355735"/>
              <a:gd name="connsiteX5" fmla="*/ 1494338 w 1494338"/>
              <a:gd name="connsiteY5" fmla="*/ 3037947 h 3355735"/>
              <a:gd name="connsiteX6" fmla="*/ 1494338 w 1494338"/>
              <a:gd name="connsiteY6" fmla="*/ 3355735 h 3355735"/>
              <a:gd name="connsiteX7" fmla="*/ 1356162 w 1494338"/>
              <a:gd name="connsiteY7" fmla="*/ 3341809 h 3355735"/>
              <a:gd name="connsiteX8" fmla="*/ 0 w 1494338"/>
              <a:gd name="connsiteY8" fmla="*/ 1677868 h 3355735"/>
              <a:gd name="connsiteX9" fmla="*/ 1356162 w 1494338"/>
              <a:gd name="connsiteY9" fmla="*/ 13932 h 3355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94338" h="3355735">
                <a:moveTo>
                  <a:pt x="1494338" y="0"/>
                </a:moveTo>
                <a:lnTo>
                  <a:pt x="1494338" y="317790"/>
                </a:lnTo>
                <a:lnTo>
                  <a:pt x="1420978" y="328986"/>
                </a:lnTo>
                <a:cubicBezTo>
                  <a:pt x="793568" y="457373"/>
                  <a:pt x="321607" y="1012504"/>
                  <a:pt x="321607" y="1677868"/>
                </a:cubicBezTo>
                <a:cubicBezTo>
                  <a:pt x="321607" y="2343232"/>
                  <a:pt x="793568" y="2898364"/>
                  <a:pt x="1420978" y="3026750"/>
                </a:cubicBezTo>
                <a:lnTo>
                  <a:pt x="1494338" y="3037947"/>
                </a:lnTo>
                <a:lnTo>
                  <a:pt x="1494338" y="3355735"/>
                </a:lnTo>
                <a:lnTo>
                  <a:pt x="1356162" y="3341809"/>
                </a:lnTo>
                <a:cubicBezTo>
                  <a:pt x="582203" y="3183431"/>
                  <a:pt x="0" y="2498641"/>
                  <a:pt x="0" y="1677868"/>
                </a:cubicBezTo>
                <a:cubicBezTo>
                  <a:pt x="0" y="857100"/>
                  <a:pt x="582203" y="172304"/>
                  <a:pt x="1356162" y="13932"/>
                </a:cubicBezTo>
                <a:close/>
              </a:path>
            </a:pathLst>
          </a:custGeom>
          <a:solidFill>
            <a:srgbClr val="007144"/>
          </a:solidFill>
          <a:ln>
            <a:noFill/>
          </a:ln>
          <a:effectLst>
            <a:outerShdw blurRad="127000" dist="635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3F15D59-0A27-DA2C-9A03-A39AEB32AF44}"/>
              </a:ext>
            </a:extLst>
          </p:cNvPr>
          <p:cNvSpPr txBox="1"/>
          <p:nvPr/>
        </p:nvSpPr>
        <p:spPr>
          <a:xfrm>
            <a:off x="4838537" y="3171098"/>
            <a:ext cx="1114890" cy="32367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400" b="1" dirty="0">
                <a:solidFill>
                  <a:srgbClr val="007144"/>
                </a:solidFill>
                <a:latin typeface="+mj-lt"/>
              </a:rPr>
              <a:t>PROS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A9C6FAA-76CE-80D3-E4EA-20D616AFB9B1}"/>
              </a:ext>
            </a:extLst>
          </p:cNvPr>
          <p:cNvCxnSpPr>
            <a:cxnSpLocks/>
          </p:cNvCxnSpPr>
          <p:nvPr/>
        </p:nvCxnSpPr>
        <p:spPr>
          <a:xfrm>
            <a:off x="6096000" y="2178105"/>
            <a:ext cx="0" cy="23336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D7D371AA-0073-16C3-7BC8-096245820C57}"/>
              </a:ext>
            </a:extLst>
          </p:cNvPr>
          <p:cNvSpPr txBox="1"/>
          <p:nvPr/>
        </p:nvSpPr>
        <p:spPr>
          <a:xfrm>
            <a:off x="6238568" y="3171098"/>
            <a:ext cx="1114892" cy="32367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400" b="1" dirty="0">
                <a:solidFill>
                  <a:srgbClr val="A20417"/>
                </a:solidFill>
                <a:latin typeface="+mj-lt"/>
              </a:rPr>
              <a:t>CONS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49048FD-53C3-AB34-6F09-3DC2D3BFFA77}"/>
              </a:ext>
            </a:extLst>
          </p:cNvPr>
          <p:cNvGrpSpPr/>
          <p:nvPr/>
        </p:nvGrpSpPr>
        <p:grpSpPr>
          <a:xfrm>
            <a:off x="515938" y="1012392"/>
            <a:ext cx="2260526" cy="1264810"/>
            <a:chOff x="515938" y="760869"/>
            <a:chExt cx="3073082" cy="1264810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0D965B6A-5958-A44F-A516-B26D694C8CB5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rgbClr val="007144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F5F99D20-2C2B-B93B-3504-AB2751DB018F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rgbClr val="007144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007144"/>
                  </a:solidFill>
                </a:rPr>
                <a:t>ame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dirty="0" err="1">
                  <a:solidFill>
                    <a:srgbClr val="007144"/>
                  </a:solidFill>
                </a:rPr>
                <a:t>consectetur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adipiscing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eli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.</a:t>
              </a:r>
              <a:endParaRPr lang="en-US" sz="1400" dirty="0">
                <a:solidFill>
                  <a:srgbClr val="007144"/>
                </a:solidFill>
              </a:endParaRPr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CADCE839-7E50-48F7-9AF0-16862FB6596A}"/>
              </a:ext>
            </a:extLst>
          </p:cNvPr>
          <p:cNvGrpSpPr/>
          <p:nvPr/>
        </p:nvGrpSpPr>
        <p:grpSpPr>
          <a:xfrm>
            <a:off x="515938" y="2681810"/>
            <a:ext cx="2260526" cy="1264810"/>
            <a:chOff x="515938" y="760869"/>
            <a:chExt cx="3073082" cy="1264810"/>
          </a:xfrm>
        </p:grpSpPr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AEB9210C-C4E9-A9D4-CAA7-BC1A3065DEAB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rgbClr val="007144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309D141E-7D44-46F3-B4E6-ED0F2DEF2066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rgbClr val="007144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007144"/>
                  </a:solidFill>
                </a:rPr>
                <a:t>ame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dirty="0" err="1">
                  <a:solidFill>
                    <a:srgbClr val="007144"/>
                  </a:solidFill>
                </a:rPr>
                <a:t>consectetur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adipiscing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eli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.</a:t>
              </a:r>
              <a:endParaRPr lang="en-US" sz="1400" dirty="0">
                <a:solidFill>
                  <a:srgbClr val="007144"/>
                </a:solidFill>
              </a:endParaRP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2F150CCC-7C62-5384-C02D-2090FF115D72}"/>
              </a:ext>
            </a:extLst>
          </p:cNvPr>
          <p:cNvGrpSpPr/>
          <p:nvPr/>
        </p:nvGrpSpPr>
        <p:grpSpPr>
          <a:xfrm>
            <a:off x="515938" y="4351226"/>
            <a:ext cx="2260526" cy="1264810"/>
            <a:chOff x="515938" y="760869"/>
            <a:chExt cx="3073082" cy="1264810"/>
          </a:xfrm>
        </p:grpSpPr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68CEAE62-68F1-E340-8FF8-3F9ACDB865AE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rgbClr val="007144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1679ED32-92C2-5002-ACEE-607C2E6FE08E}"/>
                </a:ext>
              </a:extLst>
            </p:cNvPr>
            <p:cNvSpPr txBox="1"/>
            <p:nvPr/>
          </p:nvSpPr>
          <p:spPr>
            <a:xfrm>
              <a:off x="515938" y="1163905"/>
              <a:ext cx="3073082" cy="86177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rgbClr val="007144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007144"/>
                  </a:solidFill>
                </a:rPr>
                <a:t>ame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dirty="0" err="1">
                  <a:solidFill>
                    <a:srgbClr val="007144"/>
                  </a:solidFill>
                </a:rPr>
                <a:t>consectetur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adipiscing</a:t>
              </a:r>
              <a:r>
                <a:rPr lang="en-US" sz="1400" dirty="0">
                  <a:solidFill>
                    <a:srgbClr val="007144"/>
                  </a:solidFill>
                </a:rPr>
                <a:t> </a:t>
              </a:r>
              <a:r>
                <a:rPr lang="en-US" sz="1400" dirty="0" err="1">
                  <a:solidFill>
                    <a:srgbClr val="007144"/>
                  </a:solidFill>
                </a:rPr>
                <a:t>elit</a:t>
              </a:r>
              <a:r>
                <a:rPr lang="en-US" sz="1400" dirty="0">
                  <a:solidFill>
                    <a:srgbClr val="007144"/>
                  </a:solidFill>
                </a:rPr>
                <a:t>, 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007144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007144"/>
                  </a:solidFill>
                  <a:effectLst/>
                </a:rPr>
                <a:t>.</a:t>
              </a:r>
              <a:endParaRPr lang="en-US" sz="1400" dirty="0">
                <a:solidFill>
                  <a:srgbClr val="007144"/>
                </a:solidFill>
              </a:endParaRP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9597701-77CC-19DC-248B-CC47B8759A14}"/>
              </a:ext>
            </a:extLst>
          </p:cNvPr>
          <p:cNvGrpSpPr/>
          <p:nvPr/>
        </p:nvGrpSpPr>
        <p:grpSpPr>
          <a:xfrm>
            <a:off x="9415537" y="958531"/>
            <a:ext cx="2260526" cy="1372532"/>
            <a:chOff x="515938" y="760869"/>
            <a:chExt cx="3073082" cy="1372532"/>
          </a:xfrm>
        </p:grpSpPr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4951CB31-FB3B-6CE4-F96D-F833053D9281}"/>
                </a:ext>
              </a:extLst>
            </p:cNvPr>
            <p:cNvSpPr txBox="1"/>
            <p:nvPr/>
          </p:nvSpPr>
          <p:spPr>
            <a:xfrm>
              <a:off x="151415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rgbClr val="A20417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97F739FC-2BA4-044B-7DE2-39127ADD406D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rgbClr val="A20417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A20417"/>
                  </a:solidFill>
                </a:rPr>
                <a:t>ame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dirty="0" err="1">
                  <a:solidFill>
                    <a:srgbClr val="A20417"/>
                  </a:solidFill>
                </a:rPr>
                <a:t>consectetur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adipiscing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eli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.</a:t>
              </a:r>
              <a:endParaRPr lang="en-US" sz="1400" dirty="0">
                <a:solidFill>
                  <a:srgbClr val="A20417"/>
                </a:solidFill>
              </a:endParaRPr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F40B2E71-20F2-9DD8-1B47-CD14CADDFDCE}"/>
              </a:ext>
            </a:extLst>
          </p:cNvPr>
          <p:cNvGrpSpPr/>
          <p:nvPr/>
        </p:nvGrpSpPr>
        <p:grpSpPr>
          <a:xfrm>
            <a:off x="9415537" y="2627947"/>
            <a:ext cx="2260526" cy="1372532"/>
            <a:chOff x="515938" y="760869"/>
            <a:chExt cx="3073082" cy="1372532"/>
          </a:xfrm>
        </p:grpSpPr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33B66711-560A-2416-5D9B-6E141A842346}"/>
                </a:ext>
              </a:extLst>
            </p:cNvPr>
            <p:cNvSpPr txBox="1"/>
            <p:nvPr/>
          </p:nvSpPr>
          <p:spPr>
            <a:xfrm>
              <a:off x="151415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rgbClr val="A20417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5B7AFD5F-9AC9-AC5B-AFFE-199FA644D6B4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rgbClr val="A20417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A20417"/>
                  </a:solidFill>
                </a:rPr>
                <a:t>ame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dirty="0" err="1">
                  <a:solidFill>
                    <a:srgbClr val="A20417"/>
                  </a:solidFill>
                </a:rPr>
                <a:t>consectetur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adipiscing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eli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.</a:t>
              </a:r>
              <a:endParaRPr lang="en-US" sz="1400" dirty="0">
                <a:solidFill>
                  <a:srgbClr val="A20417"/>
                </a:solidFill>
              </a:endParaRP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27535B0E-ADF9-6DA8-6AEF-B596361BC48F}"/>
              </a:ext>
            </a:extLst>
          </p:cNvPr>
          <p:cNvGrpSpPr/>
          <p:nvPr/>
        </p:nvGrpSpPr>
        <p:grpSpPr>
          <a:xfrm>
            <a:off x="9415537" y="4297365"/>
            <a:ext cx="2260526" cy="1372532"/>
            <a:chOff x="515938" y="760869"/>
            <a:chExt cx="3073082" cy="1372532"/>
          </a:xfrm>
        </p:grpSpPr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4AD23A18-1884-BCCD-1800-BA0736EEA2D3}"/>
                </a:ext>
              </a:extLst>
            </p:cNvPr>
            <p:cNvSpPr txBox="1"/>
            <p:nvPr/>
          </p:nvSpPr>
          <p:spPr>
            <a:xfrm>
              <a:off x="151415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600" b="1" dirty="0">
                  <a:solidFill>
                    <a:srgbClr val="A20417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8CE6EECF-AA88-64B7-E56B-E114E22DA5E9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rgbClr val="A20417"/>
                  </a:solidFill>
                </a:rPr>
                <a:t>Lorem ipsum dolor sit </a:t>
              </a:r>
              <a:r>
                <a:rPr lang="en-US" sz="1400" dirty="0" err="1">
                  <a:solidFill>
                    <a:srgbClr val="A20417"/>
                  </a:solidFill>
                </a:rPr>
                <a:t>ame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dirty="0" err="1">
                  <a:solidFill>
                    <a:srgbClr val="A20417"/>
                  </a:solidFill>
                </a:rPr>
                <a:t>consectetur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adipiscing</a:t>
              </a:r>
              <a:r>
                <a:rPr lang="en-US" sz="1400" dirty="0">
                  <a:solidFill>
                    <a:srgbClr val="A20417"/>
                  </a:solidFill>
                </a:rPr>
                <a:t> </a:t>
              </a:r>
              <a:r>
                <a:rPr lang="en-US" sz="1400" dirty="0" err="1">
                  <a:solidFill>
                    <a:srgbClr val="A20417"/>
                  </a:solidFill>
                </a:rPr>
                <a:t>elit</a:t>
              </a:r>
              <a:r>
                <a:rPr lang="en-US" sz="1400" dirty="0">
                  <a:solidFill>
                    <a:srgbClr val="A20417"/>
                  </a:solidFill>
                </a:rPr>
                <a:t>, 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rgbClr val="A20417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rgbClr val="A20417"/>
                  </a:solidFill>
                  <a:effectLst/>
                </a:rPr>
                <a:t>.</a:t>
              </a:r>
              <a:endParaRPr lang="en-US" sz="1400" dirty="0">
                <a:solidFill>
                  <a:srgbClr val="A20417"/>
                </a:solidFill>
              </a:endParaRP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A0BC0407-CE67-12EE-56EE-8C007DFDDC7C}"/>
              </a:ext>
            </a:extLst>
          </p:cNvPr>
          <p:cNvGrpSpPr/>
          <p:nvPr/>
        </p:nvGrpSpPr>
        <p:grpSpPr>
          <a:xfrm>
            <a:off x="5158840" y="3655615"/>
            <a:ext cx="474283" cy="474283"/>
            <a:chOff x="4276786" y="1375502"/>
            <a:chExt cx="474283" cy="474283"/>
          </a:xfrm>
        </p:grpSpPr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A42E2654-EC01-5936-14EC-475E3C17C5A5}"/>
                </a:ext>
              </a:extLst>
            </p:cNvPr>
            <p:cNvSpPr/>
            <p:nvPr/>
          </p:nvSpPr>
          <p:spPr>
            <a:xfrm>
              <a:off x="4276786" y="1375502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E914C038-37CA-5FFC-BB7C-0C98ECD8965F}"/>
                </a:ext>
              </a:extLst>
            </p:cNvPr>
            <p:cNvGrpSpPr/>
            <p:nvPr/>
          </p:nvGrpSpPr>
          <p:grpSpPr>
            <a:xfrm>
              <a:off x="4370921" y="1480133"/>
              <a:ext cx="286013" cy="265021"/>
              <a:chOff x="2982913" y="6350"/>
              <a:chExt cx="346075" cy="320675"/>
            </a:xfrm>
          </p:grpSpPr>
          <p:sp>
            <p:nvSpPr>
              <p:cNvPr id="194" name="Freeform 80">
                <a:extLst>
                  <a:ext uri="{FF2B5EF4-FFF2-40B4-BE49-F238E27FC236}">
                    <a16:creationId xmlns:a16="http://schemas.microsoft.com/office/drawing/2014/main" id="{5A428D58-873B-C1F5-4459-FD7917157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5" name="Rectangle 81">
                <a:extLst>
                  <a:ext uri="{FF2B5EF4-FFF2-40B4-BE49-F238E27FC236}">
                    <a16:creationId xmlns:a16="http://schemas.microsoft.com/office/drawing/2014/main" id="{2C6B5A6B-001F-F351-3E4B-AE969D857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6" name="Oval 82">
                <a:extLst>
                  <a:ext uri="{FF2B5EF4-FFF2-40B4-BE49-F238E27FC236}">
                    <a16:creationId xmlns:a16="http://schemas.microsoft.com/office/drawing/2014/main" id="{1B03EFEF-E87C-060F-D96A-6286DF21B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00714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D42E0DCB-4A85-13F4-3AA8-605729F8A70A}"/>
              </a:ext>
            </a:extLst>
          </p:cNvPr>
          <p:cNvGrpSpPr/>
          <p:nvPr/>
        </p:nvGrpSpPr>
        <p:grpSpPr>
          <a:xfrm>
            <a:off x="6558872" y="2521861"/>
            <a:ext cx="474283" cy="474283"/>
            <a:chOff x="7393577" y="1019186"/>
            <a:chExt cx="474283" cy="474283"/>
          </a:xfrm>
        </p:grpSpPr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B2DC1897-50D1-C59D-ADA4-72AA57F6AD12}"/>
                </a:ext>
              </a:extLst>
            </p:cNvPr>
            <p:cNvSpPr/>
            <p:nvPr/>
          </p:nvSpPr>
          <p:spPr>
            <a:xfrm>
              <a:off x="7393577" y="1019186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00A117F-FB45-0A39-3232-245CA8A8EB90}"/>
                </a:ext>
              </a:extLst>
            </p:cNvPr>
            <p:cNvGrpSpPr/>
            <p:nvPr/>
          </p:nvGrpSpPr>
          <p:grpSpPr>
            <a:xfrm flipV="1">
              <a:off x="7487712" y="1123817"/>
              <a:ext cx="286013" cy="265021"/>
              <a:chOff x="2982913" y="6350"/>
              <a:chExt cx="346075" cy="320675"/>
            </a:xfrm>
          </p:grpSpPr>
          <p:sp>
            <p:nvSpPr>
              <p:cNvPr id="200" name="Freeform 80">
                <a:extLst>
                  <a:ext uri="{FF2B5EF4-FFF2-40B4-BE49-F238E27FC236}">
                    <a16:creationId xmlns:a16="http://schemas.microsoft.com/office/drawing/2014/main" id="{DE61FB79-D536-4AF1-5742-14A6D1CEB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201" name="Rectangle 81">
                <a:extLst>
                  <a:ext uri="{FF2B5EF4-FFF2-40B4-BE49-F238E27FC236}">
                    <a16:creationId xmlns:a16="http://schemas.microsoft.com/office/drawing/2014/main" id="{F47AFF96-30FC-9007-22B1-3EA4CE7033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2" name="Oval 82">
                <a:extLst>
                  <a:ext uri="{FF2B5EF4-FFF2-40B4-BE49-F238E27FC236}">
                    <a16:creationId xmlns:a16="http://schemas.microsoft.com/office/drawing/2014/main" id="{E6EFC6BD-00C0-5027-4FF4-9352FBAA2E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A2041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F15A03FA-6744-D482-3715-609592FC975A}"/>
              </a:ext>
            </a:extLst>
          </p:cNvPr>
          <p:cNvGrpSpPr/>
          <p:nvPr/>
        </p:nvGrpSpPr>
        <p:grpSpPr>
          <a:xfrm>
            <a:off x="3762684" y="1199189"/>
            <a:ext cx="891217" cy="891217"/>
            <a:chOff x="3184713" y="1238726"/>
            <a:chExt cx="891217" cy="891217"/>
          </a:xfrm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E482968E-399E-394D-2B0A-0FA156CD1DE5}"/>
                </a:ext>
              </a:extLst>
            </p:cNvPr>
            <p:cNvSpPr/>
            <p:nvPr/>
          </p:nvSpPr>
          <p:spPr>
            <a:xfrm>
              <a:off x="3184713" y="1238726"/>
              <a:ext cx="891217" cy="891217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A43376E3-0EE4-BF9B-502A-42727CBE4F1F}"/>
                </a:ext>
              </a:extLst>
            </p:cNvPr>
            <p:cNvSpPr/>
            <p:nvPr/>
          </p:nvSpPr>
          <p:spPr>
            <a:xfrm>
              <a:off x="3303049" y="1357062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17BE6A96-83B2-4978-46AC-40F1E93E852F}"/>
                </a:ext>
              </a:extLst>
            </p:cNvPr>
            <p:cNvGrpSpPr/>
            <p:nvPr/>
          </p:nvGrpSpPr>
          <p:grpSpPr>
            <a:xfrm>
              <a:off x="3458077" y="1511297"/>
              <a:ext cx="344488" cy="346075"/>
              <a:chOff x="4841875" y="2895601"/>
              <a:chExt cx="344488" cy="346075"/>
            </a:xfrm>
          </p:grpSpPr>
          <p:sp>
            <p:nvSpPr>
              <p:cNvPr id="204" name="Freeform 258">
                <a:extLst>
                  <a:ext uri="{FF2B5EF4-FFF2-40B4-BE49-F238E27FC236}">
                    <a16:creationId xmlns:a16="http://schemas.microsoft.com/office/drawing/2014/main" id="{D6562E59-9A56-0EDA-7742-A4B2CA61B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488" y="2895601"/>
                <a:ext cx="195263" cy="195263"/>
              </a:xfrm>
              <a:custGeom>
                <a:avLst/>
                <a:gdLst>
                  <a:gd name="T0" fmla="*/ 52 w 52"/>
                  <a:gd name="T1" fmla="*/ 26 h 52"/>
                  <a:gd name="T2" fmla="*/ 26 w 52"/>
                  <a:gd name="T3" fmla="*/ 52 h 52"/>
                  <a:gd name="T4" fmla="*/ 0 w 52"/>
                  <a:gd name="T5" fmla="*/ 25 h 52"/>
                  <a:gd name="T6" fmla="*/ 25 w 52"/>
                  <a:gd name="T7" fmla="*/ 0 h 52"/>
                  <a:gd name="T8" fmla="*/ 26 w 52"/>
                  <a:gd name="T9" fmla="*/ 0 h 52"/>
                  <a:gd name="T10" fmla="*/ 52 w 52"/>
                  <a:gd name="T11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52">
                    <a:moveTo>
                      <a:pt x="52" y="26"/>
                    </a:moveTo>
                    <a:cubicBezTo>
                      <a:pt x="52" y="40"/>
                      <a:pt x="40" y="52"/>
                      <a:pt x="26" y="52"/>
                    </a:cubicBezTo>
                    <a:cubicBezTo>
                      <a:pt x="12" y="52"/>
                      <a:pt x="0" y="40"/>
                      <a:pt x="0" y="25"/>
                    </a:cubicBezTo>
                    <a:cubicBezTo>
                      <a:pt x="0" y="11"/>
                      <a:pt x="11" y="1"/>
                      <a:pt x="25" y="0"/>
                    </a:cubicBezTo>
                    <a:cubicBezTo>
                      <a:pt x="25" y="0"/>
                      <a:pt x="26" y="0"/>
                      <a:pt x="26" y="0"/>
                    </a:cubicBezTo>
                    <a:cubicBezTo>
                      <a:pt x="40" y="0"/>
                      <a:pt x="52" y="11"/>
                      <a:pt x="52" y="26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" name="Freeform 259">
                <a:extLst>
                  <a:ext uri="{FF2B5EF4-FFF2-40B4-BE49-F238E27FC236}">
                    <a16:creationId xmlns:a16="http://schemas.microsoft.com/office/drawing/2014/main" id="{1B3926C0-056B-9A6A-1BE6-7AFCF62DE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763" y="2895601"/>
                <a:ext cx="52388" cy="195263"/>
              </a:xfrm>
              <a:custGeom>
                <a:avLst/>
                <a:gdLst>
                  <a:gd name="T0" fmla="*/ 14 w 14"/>
                  <a:gd name="T1" fmla="*/ 0 h 52"/>
                  <a:gd name="T2" fmla="*/ 14 w 14"/>
                  <a:gd name="T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" h="52">
                    <a:moveTo>
                      <a:pt x="14" y="0"/>
                    </a:moveTo>
                    <a:cubicBezTo>
                      <a:pt x="0" y="15"/>
                      <a:pt x="0" y="34"/>
                      <a:pt x="14" y="52"/>
                    </a:cubicBezTo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6" name="Freeform 260">
                <a:extLst>
                  <a:ext uri="{FF2B5EF4-FFF2-40B4-BE49-F238E27FC236}">
                    <a16:creationId xmlns:a16="http://schemas.microsoft.com/office/drawing/2014/main" id="{15CFC6E1-BD6B-1F63-CB4E-7AB450E04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8088" y="2895601"/>
                <a:ext cx="52388" cy="195263"/>
              </a:xfrm>
              <a:custGeom>
                <a:avLst/>
                <a:gdLst>
                  <a:gd name="T0" fmla="*/ 0 w 14"/>
                  <a:gd name="T1" fmla="*/ 0 h 52"/>
                  <a:gd name="T2" fmla="*/ 0 w 14"/>
                  <a:gd name="T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" h="52">
                    <a:moveTo>
                      <a:pt x="0" y="0"/>
                    </a:moveTo>
                    <a:cubicBezTo>
                      <a:pt x="14" y="15"/>
                      <a:pt x="14" y="34"/>
                      <a:pt x="0" y="52"/>
                    </a:cubicBezTo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7" name="Line 261">
                <a:extLst>
                  <a:ext uri="{FF2B5EF4-FFF2-40B4-BE49-F238E27FC236}">
                    <a16:creationId xmlns:a16="http://schemas.microsoft.com/office/drawing/2014/main" id="{0AF0BC8E-4530-A343-9863-1D241F17F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32363" y="3044826"/>
                <a:ext cx="165100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8" name="Line 262">
                <a:extLst>
                  <a:ext uri="{FF2B5EF4-FFF2-40B4-BE49-F238E27FC236}">
                    <a16:creationId xmlns:a16="http://schemas.microsoft.com/office/drawing/2014/main" id="{34F1C46A-2EB6-8D2C-7883-45228606A6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32363" y="2940051"/>
                <a:ext cx="165100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9" name="Line 263">
                <a:extLst>
                  <a:ext uri="{FF2B5EF4-FFF2-40B4-BE49-F238E27FC236}">
                    <a16:creationId xmlns:a16="http://schemas.microsoft.com/office/drawing/2014/main" id="{E336BB15-9FCE-34EF-1009-60502E4FC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16488" y="2992438"/>
                <a:ext cx="195263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0" name="Oval 264">
                <a:extLst>
                  <a:ext uri="{FF2B5EF4-FFF2-40B4-BE49-F238E27FC236}">
                    <a16:creationId xmlns:a16="http://schemas.microsoft.com/office/drawing/2014/main" id="{DFFD073D-5734-4AD2-C1CB-C95CA14BA7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4100" y="3105151"/>
                <a:ext cx="74613" cy="76200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1" name="Oval 265">
                <a:extLst>
                  <a:ext uri="{FF2B5EF4-FFF2-40B4-BE49-F238E27FC236}">
                    <a16:creationId xmlns:a16="http://schemas.microsoft.com/office/drawing/2014/main" id="{566AF528-EC30-3C7D-B1F0-A9F81312E4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6813" y="3105151"/>
                <a:ext cx="74613" cy="76200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2" name="Oval 266">
                <a:extLst>
                  <a:ext uri="{FF2B5EF4-FFF2-40B4-BE49-F238E27FC236}">
                    <a16:creationId xmlns:a16="http://schemas.microsoft.com/office/drawing/2014/main" id="{82C34573-07EC-3E2D-8170-471355A9B1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9525" y="3105151"/>
                <a:ext cx="74613" cy="76200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3" name="Freeform 267">
                <a:extLst>
                  <a:ext uri="{FF2B5EF4-FFF2-40B4-BE49-F238E27FC236}">
                    <a16:creationId xmlns:a16="http://schemas.microsoft.com/office/drawing/2014/main" id="{B7036339-D358-709C-4120-F863E78AF6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3181351"/>
                <a:ext cx="344488" cy="60325"/>
              </a:xfrm>
              <a:custGeom>
                <a:avLst/>
                <a:gdLst>
                  <a:gd name="T0" fmla="*/ 76 w 92"/>
                  <a:gd name="T1" fmla="*/ 0 h 16"/>
                  <a:gd name="T2" fmla="*/ 61 w 92"/>
                  <a:gd name="T3" fmla="*/ 11 h 16"/>
                  <a:gd name="T4" fmla="*/ 46 w 92"/>
                  <a:gd name="T5" fmla="*/ 0 h 16"/>
                  <a:gd name="T6" fmla="*/ 31 w 92"/>
                  <a:gd name="T7" fmla="*/ 11 h 16"/>
                  <a:gd name="T8" fmla="*/ 16 w 92"/>
                  <a:gd name="T9" fmla="*/ 0 h 16"/>
                  <a:gd name="T10" fmla="*/ 0 w 92"/>
                  <a:gd name="T11" fmla="*/ 16 h 16"/>
                  <a:gd name="T12" fmla="*/ 92 w 92"/>
                  <a:gd name="T13" fmla="*/ 16 h 16"/>
                  <a:gd name="T14" fmla="*/ 76 w 92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16">
                    <a:moveTo>
                      <a:pt x="76" y="0"/>
                    </a:moveTo>
                    <a:cubicBezTo>
                      <a:pt x="69" y="0"/>
                      <a:pt x="63" y="4"/>
                      <a:pt x="61" y="11"/>
                    </a:cubicBezTo>
                    <a:cubicBezTo>
                      <a:pt x="59" y="4"/>
                      <a:pt x="53" y="0"/>
                      <a:pt x="46" y="0"/>
                    </a:cubicBezTo>
                    <a:cubicBezTo>
                      <a:pt x="39" y="0"/>
                      <a:pt x="33" y="4"/>
                      <a:pt x="31" y="11"/>
                    </a:cubicBezTo>
                    <a:cubicBezTo>
                      <a:pt x="29" y="4"/>
                      <a:pt x="23" y="0"/>
                      <a:pt x="16" y="0"/>
                    </a:cubicBezTo>
                    <a:cubicBezTo>
                      <a:pt x="7" y="0"/>
                      <a:pt x="0" y="8"/>
                      <a:pt x="0" y="16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2" y="8"/>
                      <a:pt x="85" y="0"/>
                      <a:pt x="76" y="0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E80705DB-178A-87D1-E55C-40ECF2CF379A}"/>
              </a:ext>
            </a:extLst>
          </p:cNvPr>
          <p:cNvGrpSpPr/>
          <p:nvPr/>
        </p:nvGrpSpPr>
        <p:grpSpPr>
          <a:xfrm>
            <a:off x="7564696" y="1199189"/>
            <a:ext cx="891217" cy="891217"/>
            <a:chOff x="8217474" y="1238726"/>
            <a:chExt cx="891217" cy="891217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0B2209B5-5FD8-EE3D-6440-BABE9819C550}"/>
                </a:ext>
              </a:extLst>
            </p:cNvPr>
            <p:cNvSpPr/>
            <p:nvPr/>
          </p:nvSpPr>
          <p:spPr>
            <a:xfrm>
              <a:off x="8217474" y="1238726"/>
              <a:ext cx="891217" cy="891217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E89D5B1F-11E0-4C27-6925-5B00B07DFF2A}"/>
                </a:ext>
              </a:extLst>
            </p:cNvPr>
            <p:cNvSpPr/>
            <p:nvPr/>
          </p:nvSpPr>
          <p:spPr>
            <a:xfrm>
              <a:off x="8335810" y="1357062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B1DCC84A-E71C-7250-ACC6-07A4A3947198}"/>
                </a:ext>
              </a:extLst>
            </p:cNvPr>
            <p:cNvGrpSpPr/>
            <p:nvPr/>
          </p:nvGrpSpPr>
          <p:grpSpPr>
            <a:xfrm>
              <a:off x="8490045" y="1511297"/>
              <a:ext cx="346075" cy="346075"/>
              <a:chOff x="5562600" y="2895601"/>
              <a:chExt cx="346075" cy="346075"/>
            </a:xfrm>
          </p:grpSpPr>
          <p:sp>
            <p:nvSpPr>
              <p:cNvPr id="215" name="Freeform 277">
                <a:extLst>
                  <a:ext uri="{FF2B5EF4-FFF2-40B4-BE49-F238E27FC236}">
                    <a16:creationId xmlns:a16="http://schemas.microsoft.com/office/drawing/2014/main" id="{1AC828E6-6B60-A197-4181-2218DA0D4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895601"/>
                <a:ext cx="195263" cy="179388"/>
              </a:xfrm>
              <a:custGeom>
                <a:avLst/>
                <a:gdLst>
                  <a:gd name="T0" fmla="*/ 0 w 52"/>
                  <a:gd name="T1" fmla="*/ 32 h 48"/>
                  <a:gd name="T2" fmla="*/ 4 w 52"/>
                  <a:gd name="T3" fmla="*/ 36 h 48"/>
                  <a:gd name="T4" fmla="*/ 8 w 52"/>
                  <a:gd name="T5" fmla="*/ 36 h 48"/>
                  <a:gd name="T6" fmla="*/ 20 w 52"/>
                  <a:gd name="T7" fmla="*/ 48 h 48"/>
                  <a:gd name="T8" fmla="*/ 20 w 52"/>
                  <a:gd name="T9" fmla="*/ 36 h 48"/>
                  <a:gd name="T10" fmla="*/ 48 w 52"/>
                  <a:gd name="T11" fmla="*/ 36 h 48"/>
                  <a:gd name="T12" fmla="*/ 52 w 52"/>
                  <a:gd name="T13" fmla="*/ 32 h 48"/>
                  <a:gd name="T14" fmla="*/ 52 w 52"/>
                  <a:gd name="T15" fmla="*/ 4 h 48"/>
                  <a:gd name="T16" fmla="*/ 48 w 52"/>
                  <a:gd name="T17" fmla="*/ 0 h 48"/>
                  <a:gd name="T18" fmla="*/ 4 w 52"/>
                  <a:gd name="T19" fmla="*/ 0 h 48"/>
                  <a:gd name="T20" fmla="*/ 0 w 52"/>
                  <a:gd name="T21" fmla="*/ 4 h 48"/>
                  <a:gd name="T22" fmla="*/ 0 w 52"/>
                  <a:gd name="T23" fmla="*/ 3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48">
                    <a:moveTo>
                      <a:pt x="0" y="32"/>
                    </a:moveTo>
                    <a:cubicBezTo>
                      <a:pt x="0" y="34"/>
                      <a:pt x="2" y="36"/>
                      <a:pt x="4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0" y="36"/>
                      <a:pt x="52" y="34"/>
                      <a:pt x="52" y="32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2"/>
                      <a:pt x="50" y="0"/>
                      <a:pt x="4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lnTo>
                      <a:pt x="0" y="32"/>
                    </a:ln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6" name="Oval 278">
                <a:extLst>
                  <a:ext uri="{FF2B5EF4-FFF2-40B4-BE49-F238E27FC236}">
                    <a16:creationId xmlns:a16="http://schemas.microsoft.com/office/drawing/2014/main" id="{35052F0A-DB8D-BB48-E9C3-19D67C94B0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0250" y="3060701"/>
                <a:ext cx="76200" cy="74613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7" name="Freeform 279">
                <a:extLst>
                  <a:ext uri="{FF2B5EF4-FFF2-40B4-BE49-F238E27FC236}">
                    <a16:creationId xmlns:a16="http://schemas.microsoft.com/office/drawing/2014/main" id="{7F3F3A46-15B6-9E3B-5AE5-7EA06DAA5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8025" y="3135313"/>
                <a:ext cx="120650" cy="60325"/>
              </a:xfrm>
              <a:custGeom>
                <a:avLst/>
                <a:gdLst>
                  <a:gd name="T0" fmla="*/ 32 w 32"/>
                  <a:gd name="T1" fmla="*/ 16 h 16"/>
                  <a:gd name="T2" fmla="*/ 0 w 32"/>
                  <a:gd name="T3" fmla="*/ 16 h 16"/>
                  <a:gd name="T4" fmla="*/ 16 w 32"/>
                  <a:gd name="T5" fmla="*/ 0 h 16"/>
                  <a:gd name="T6" fmla="*/ 32 w 32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16">
                    <a:moveTo>
                      <a:pt x="3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8" name="Oval 280">
                <a:extLst>
                  <a:ext uri="{FF2B5EF4-FFF2-40B4-BE49-F238E27FC236}">
                    <a16:creationId xmlns:a16="http://schemas.microsoft.com/office/drawing/2014/main" id="{51770A48-E187-198B-9AE6-90A97102AA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4825" y="3060701"/>
                <a:ext cx="76200" cy="74613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9" name="Freeform 281">
                <a:extLst>
                  <a:ext uri="{FF2B5EF4-FFF2-40B4-BE49-F238E27FC236}">
                    <a16:creationId xmlns:a16="http://schemas.microsoft.com/office/drawing/2014/main" id="{7D947FED-8EC5-2F03-9589-1434FD6EF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3135313"/>
                <a:ext cx="120650" cy="60325"/>
              </a:xfrm>
              <a:custGeom>
                <a:avLst/>
                <a:gdLst>
                  <a:gd name="T0" fmla="*/ 32 w 32"/>
                  <a:gd name="T1" fmla="*/ 16 h 16"/>
                  <a:gd name="T2" fmla="*/ 0 w 32"/>
                  <a:gd name="T3" fmla="*/ 16 h 16"/>
                  <a:gd name="T4" fmla="*/ 16 w 32"/>
                  <a:gd name="T5" fmla="*/ 0 h 16"/>
                  <a:gd name="T6" fmla="*/ 32 w 32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16">
                    <a:moveTo>
                      <a:pt x="3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0" name="Oval 282">
                <a:extLst>
                  <a:ext uri="{FF2B5EF4-FFF2-40B4-BE49-F238E27FC236}">
                    <a16:creationId xmlns:a16="http://schemas.microsoft.com/office/drawing/2014/main" id="{B53C62F9-B34F-D248-5D61-BF669F0B1B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7538" y="3105151"/>
                <a:ext cx="76200" cy="76200"/>
              </a:xfrm>
              <a:prstGeom prst="ellips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1" name="Freeform 283">
                <a:extLst>
                  <a:ext uri="{FF2B5EF4-FFF2-40B4-BE49-F238E27FC236}">
                    <a16:creationId xmlns:a16="http://schemas.microsoft.com/office/drawing/2014/main" id="{643C8441-4A7A-76D9-71FF-5E3F73C22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313" y="3181351"/>
                <a:ext cx="120650" cy="60325"/>
              </a:xfrm>
              <a:custGeom>
                <a:avLst/>
                <a:gdLst>
                  <a:gd name="T0" fmla="*/ 32 w 32"/>
                  <a:gd name="T1" fmla="*/ 16 h 16"/>
                  <a:gd name="T2" fmla="*/ 0 w 32"/>
                  <a:gd name="T3" fmla="*/ 16 h 16"/>
                  <a:gd name="T4" fmla="*/ 16 w 32"/>
                  <a:gd name="T5" fmla="*/ 0 h 16"/>
                  <a:gd name="T6" fmla="*/ 32 w 32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16">
                    <a:moveTo>
                      <a:pt x="3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2" name="Line 284">
                <a:extLst>
                  <a:ext uri="{FF2B5EF4-FFF2-40B4-BE49-F238E27FC236}">
                    <a16:creationId xmlns:a16="http://schemas.microsoft.com/office/drawing/2014/main" id="{842D2659-A190-BFCF-18BA-7B6F9D34C0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83250" y="2925763"/>
                <a:ext cx="10477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3" name="Line 285">
                <a:extLst>
                  <a:ext uri="{FF2B5EF4-FFF2-40B4-BE49-F238E27FC236}">
                    <a16:creationId xmlns:a16="http://schemas.microsoft.com/office/drawing/2014/main" id="{58C76E45-619D-DB9B-FD26-D1E35261C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83250" y="2955926"/>
                <a:ext cx="10477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4" name="Line 286">
                <a:extLst>
                  <a:ext uri="{FF2B5EF4-FFF2-40B4-BE49-F238E27FC236}">
                    <a16:creationId xmlns:a16="http://schemas.microsoft.com/office/drawing/2014/main" id="{3BAA79E9-985C-06A8-BC44-50A1B709B1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83250" y="2986088"/>
                <a:ext cx="10477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4B8C3E12-CADB-25D2-7855-962BE5E80A6E}"/>
              </a:ext>
            </a:extLst>
          </p:cNvPr>
          <p:cNvGrpSpPr/>
          <p:nvPr/>
        </p:nvGrpSpPr>
        <p:grpSpPr>
          <a:xfrm>
            <a:off x="8217474" y="2868607"/>
            <a:ext cx="891217" cy="891217"/>
            <a:chOff x="8217474" y="2814745"/>
            <a:chExt cx="891217" cy="891217"/>
          </a:xfrm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BD05045D-CB79-8B95-94E4-18C43ED320B3}"/>
                </a:ext>
              </a:extLst>
            </p:cNvPr>
            <p:cNvSpPr/>
            <p:nvPr/>
          </p:nvSpPr>
          <p:spPr>
            <a:xfrm>
              <a:off x="8217474" y="2814745"/>
              <a:ext cx="891217" cy="891217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5991B33A-A6BC-0BF6-4B3E-5722FB47AF55}"/>
                </a:ext>
              </a:extLst>
            </p:cNvPr>
            <p:cNvSpPr/>
            <p:nvPr/>
          </p:nvSpPr>
          <p:spPr>
            <a:xfrm>
              <a:off x="8335810" y="2933081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E0E2786E-916A-5E89-92F6-05A3F91009CA}"/>
                </a:ext>
              </a:extLst>
            </p:cNvPr>
            <p:cNvGrpSpPr/>
            <p:nvPr/>
          </p:nvGrpSpPr>
          <p:grpSpPr>
            <a:xfrm>
              <a:off x="8494014" y="3087316"/>
              <a:ext cx="338137" cy="346075"/>
              <a:chOff x="8455026" y="4338639"/>
              <a:chExt cx="338137" cy="346075"/>
            </a:xfrm>
          </p:grpSpPr>
          <p:sp>
            <p:nvSpPr>
              <p:cNvPr id="226" name="Oval 184">
                <a:extLst>
                  <a:ext uri="{FF2B5EF4-FFF2-40B4-BE49-F238E27FC236}">
                    <a16:creationId xmlns:a16="http://schemas.microsoft.com/office/drawing/2014/main" id="{3920CFDE-0C07-09C5-A49E-C1369C98A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85188" y="4338639"/>
                <a:ext cx="104775" cy="106363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7" name="Freeform 185">
                <a:extLst>
                  <a:ext uri="{FF2B5EF4-FFF2-40B4-BE49-F238E27FC236}">
                    <a16:creationId xmlns:a16="http://schemas.microsoft.com/office/drawing/2014/main" id="{E3BC8697-EEA9-ED2A-E716-C86C1EC8B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5026" y="4475164"/>
                <a:ext cx="165100" cy="209550"/>
              </a:xfrm>
              <a:custGeom>
                <a:avLst/>
                <a:gdLst>
                  <a:gd name="T0" fmla="*/ 44 w 44"/>
                  <a:gd name="T1" fmla="*/ 0 h 56"/>
                  <a:gd name="T2" fmla="*/ 0 w 44"/>
                  <a:gd name="T3" fmla="*/ 0 h 56"/>
                  <a:gd name="T4" fmla="*/ 14 w 44"/>
                  <a:gd name="T5" fmla="*/ 30 h 56"/>
                  <a:gd name="T6" fmla="*/ 14 w 44"/>
                  <a:gd name="T7" fmla="*/ 56 h 56"/>
                  <a:gd name="T8" fmla="*/ 30 w 44"/>
                  <a:gd name="T9" fmla="*/ 56 h 56"/>
                  <a:gd name="T10" fmla="*/ 30 w 44"/>
                  <a:gd name="T11" fmla="*/ 30 h 56"/>
                  <a:gd name="T12" fmla="*/ 44 w 44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6">
                    <a:moveTo>
                      <a:pt x="4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7" y="26"/>
                      <a:pt x="14" y="30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7" y="26"/>
                      <a:pt x="44" y="16"/>
                      <a:pt x="4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8" name="Freeform 186">
                <a:extLst>
                  <a:ext uri="{FF2B5EF4-FFF2-40B4-BE49-F238E27FC236}">
                    <a16:creationId xmlns:a16="http://schemas.microsoft.com/office/drawing/2014/main" id="{52FE010A-B5F6-1FFD-F084-E1147410E6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3288" y="4475164"/>
                <a:ext cx="30163" cy="104775"/>
              </a:xfrm>
              <a:custGeom>
                <a:avLst/>
                <a:gdLst>
                  <a:gd name="T0" fmla="*/ 14 w 19"/>
                  <a:gd name="T1" fmla="*/ 0 h 66"/>
                  <a:gd name="T2" fmla="*/ 4 w 19"/>
                  <a:gd name="T3" fmla="*/ 0 h 66"/>
                  <a:gd name="T4" fmla="*/ 0 w 19"/>
                  <a:gd name="T5" fmla="*/ 57 h 66"/>
                  <a:gd name="T6" fmla="*/ 9 w 19"/>
                  <a:gd name="T7" fmla="*/ 66 h 66"/>
                  <a:gd name="T8" fmla="*/ 19 w 19"/>
                  <a:gd name="T9" fmla="*/ 57 h 66"/>
                  <a:gd name="T10" fmla="*/ 14 w 19"/>
                  <a:gd name="T11" fmla="*/ 0 h 66"/>
                  <a:gd name="T12" fmla="*/ 14 w 19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6">
                    <a:moveTo>
                      <a:pt x="14" y="0"/>
                    </a:moveTo>
                    <a:lnTo>
                      <a:pt x="4" y="0"/>
                    </a:lnTo>
                    <a:lnTo>
                      <a:pt x="0" y="57"/>
                    </a:lnTo>
                    <a:lnTo>
                      <a:pt x="9" y="66"/>
                    </a:lnTo>
                    <a:lnTo>
                      <a:pt x="19" y="57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9" name="Freeform 187">
                <a:extLst>
                  <a:ext uri="{FF2B5EF4-FFF2-40B4-BE49-F238E27FC236}">
                    <a16:creationId xmlns:a16="http://schemas.microsoft.com/office/drawing/2014/main" id="{F6F7ACE0-9BA8-7613-E2C6-9B41E64B7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8063" y="4519614"/>
                <a:ext cx="165100" cy="165100"/>
              </a:xfrm>
              <a:custGeom>
                <a:avLst/>
                <a:gdLst>
                  <a:gd name="T0" fmla="*/ 16 w 44"/>
                  <a:gd name="T1" fmla="*/ 5 h 44"/>
                  <a:gd name="T2" fmla="*/ 10 w 44"/>
                  <a:gd name="T3" fmla="*/ 8 h 44"/>
                  <a:gd name="T4" fmla="*/ 6 w 44"/>
                  <a:gd name="T5" fmla="*/ 6 h 44"/>
                  <a:gd name="T6" fmla="*/ 0 w 44"/>
                  <a:gd name="T7" fmla="*/ 16 h 44"/>
                  <a:gd name="T8" fmla="*/ 4 w 44"/>
                  <a:gd name="T9" fmla="*/ 19 h 44"/>
                  <a:gd name="T10" fmla="*/ 4 w 44"/>
                  <a:gd name="T11" fmla="*/ 22 h 44"/>
                  <a:gd name="T12" fmla="*/ 4 w 44"/>
                  <a:gd name="T13" fmla="*/ 25 h 44"/>
                  <a:gd name="T14" fmla="*/ 0 w 44"/>
                  <a:gd name="T15" fmla="*/ 28 h 44"/>
                  <a:gd name="T16" fmla="*/ 6 w 44"/>
                  <a:gd name="T17" fmla="*/ 38 h 44"/>
                  <a:gd name="T18" fmla="*/ 10 w 44"/>
                  <a:gd name="T19" fmla="*/ 36 h 44"/>
                  <a:gd name="T20" fmla="*/ 16 w 44"/>
                  <a:gd name="T21" fmla="*/ 39 h 44"/>
                  <a:gd name="T22" fmla="*/ 16 w 44"/>
                  <a:gd name="T23" fmla="*/ 44 h 44"/>
                  <a:gd name="T24" fmla="*/ 28 w 44"/>
                  <a:gd name="T25" fmla="*/ 44 h 44"/>
                  <a:gd name="T26" fmla="*/ 28 w 44"/>
                  <a:gd name="T27" fmla="*/ 39 h 44"/>
                  <a:gd name="T28" fmla="*/ 34 w 44"/>
                  <a:gd name="T29" fmla="*/ 36 h 44"/>
                  <a:gd name="T30" fmla="*/ 38 w 44"/>
                  <a:gd name="T31" fmla="*/ 38 h 44"/>
                  <a:gd name="T32" fmla="*/ 44 w 44"/>
                  <a:gd name="T33" fmla="*/ 28 h 44"/>
                  <a:gd name="T34" fmla="*/ 40 w 44"/>
                  <a:gd name="T35" fmla="*/ 25 h 44"/>
                  <a:gd name="T36" fmla="*/ 40 w 44"/>
                  <a:gd name="T37" fmla="*/ 22 h 44"/>
                  <a:gd name="T38" fmla="*/ 40 w 44"/>
                  <a:gd name="T39" fmla="*/ 19 h 44"/>
                  <a:gd name="T40" fmla="*/ 44 w 44"/>
                  <a:gd name="T41" fmla="*/ 16 h 44"/>
                  <a:gd name="T42" fmla="*/ 38 w 44"/>
                  <a:gd name="T43" fmla="*/ 6 h 44"/>
                  <a:gd name="T44" fmla="*/ 34 w 44"/>
                  <a:gd name="T45" fmla="*/ 8 h 44"/>
                  <a:gd name="T46" fmla="*/ 28 w 44"/>
                  <a:gd name="T47" fmla="*/ 5 h 44"/>
                  <a:gd name="T48" fmla="*/ 28 w 44"/>
                  <a:gd name="T49" fmla="*/ 0 h 44"/>
                  <a:gd name="T50" fmla="*/ 16 w 44"/>
                  <a:gd name="T51" fmla="*/ 0 h 44"/>
                  <a:gd name="T52" fmla="*/ 16 w 44"/>
                  <a:gd name="T53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4" h="44">
                    <a:moveTo>
                      <a:pt x="16" y="5"/>
                    </a:moveTo>
                    <a:cubicBezTo>
                      <a:pt x="14" y="6"/>
                      <a:pt x="12" y="7"/>
                      <a:pt x="10" y="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20"/>
                      <a:pt x="4" y="21"/>
                      <a:pt x="4" y="22"/>
                    </a:cubicBezTo>
                    <a:cubicBezTo>
                      <a:pt x="4" y="23"/>
                      <a:pt x="4" y="24"/>
                      <a:pt x="4" y="25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12" y="37"/>
                      <a:pt x="14" y="38"/>
                      <a:pt x="16" y="39"/>
                    </a:cubicBezTo>
                    <a:cubicBezTo>
                      <a:pt x="16" y="44"/>
                      <a:pt x="16" y="44"/>
                      <a:pt x="16" y="44"/>
                    </a:cubicBezTo>
                    <a:cubicBezTo>
                      <a:pt x="28" y="44"/>
                      <a:pt x="28" y="44"/>
                      <a:pt x="28" y="44"/>
                    </a:cubicBezTo>
                    <a:cubicBezTo>
                      <a:pt x="28" y="39"/>
                      <a:pt x="28" y="39"/>
                      <a:pt x="28" y="39"/>
                    </a:cubicBezTo>
                    <a:cubicBezTo>
                      <a:pt x="30" y="38"/>
                      <a:pt x="32" y="37"/>
                      <a:pt x="34" y="36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24"/>
                      <a:pt x="40" y="23"/>
                      <a:pt x="40" y="22"/>
                    </a:cubicBezTo>
                    <a:cubicBezTo>
                      <a:pt x="40" y="21"/>
                      <a:pt x="40" y="20"/>
                      <a:pt x="40" y="19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2" y="7"/>
                      <a:pt x="30" y="6"/>
                      <a:pt x="28" y="5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6" y="5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0" name="Oval 188">
                <a:extLst>
                  <a:ext uri="{FF2B5EF4-FFF2-40B4-BE49-F238E27FC236}">
                    <a16:creationId xmlns:a16="http://schemas.microsoft.com/office/drawing/2014/main" id="{2325691A-B943-5724-171D-43A6E8AAE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80451" y="4572001"/>
                <a:ext cx="60325" cy="60325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9DC8C5DE-0638-5541-BEBE-8A24FFA534E0}"/>
              </a:ext>
            </a:extLst>
          </p:cNvPr>
          <p:cNvGrpSpPr/>
          <p:nvPr/>
        </p:nvGrpSpPr>
        <p:grpSpPr>
          <a:xfrm>
            <a:off x="3184713" y="2868607"/>
            <a:ext cx="891217" cy="891217"/>
            <a:chOff x="3184713" y="2814745"/>
            <a:chExt cx="891217" cy="891217"/>
          </a:xfrm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9F32352F-672F-5717-FFBF-4EEB478098DB}"/>
                </a:ext>
              </a:extLst>
            </p:cNvPr>
            <p:cNvSpPr/>
            <p:nvPr/>
          </p:nvSpPr>
          <p:spPr>
            <a:xfrm>
              <a:off x="3184713" y="2814745"/>
              <a:ext cx="891217" cy="891217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50EF4616-D2A7-B871-1873-0A585A2A86B7}"/>
                </a:ext>
              </a:extLst>
            </p:cNvPr>
            <p:cNvSpPr/>
            <p:nvPr/>
          </p:nvSpPr>
          <p:spPr>
            <a:xfrm>
              <a:off x="3303049" y="2933081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238EFCBA-31CE-8B74-A404-4DAE2DB364E8}"/>
                </a:ext>
              </a:extLst>
            </p:cNvPr>
            <p:cNvGrpSpPr/>
            <p:nvPr/>
          </p:nvGrpSpPr>
          <p:grpSpPr>
            <a:xfrm>
              <a:off x="3458077" y="3084141"/>
              <a:ext cx="344488" cy="352425"/>
              <a:chOff x="7734300" y="4332288"/>
              <a:chExt cx="344488" cy="352425"/>
            </a:xfrm>
          </p:grpSpPr>
          <p:sp>
            <p:nvSpPr>
              <p:cNvPr id="232" name="Oval 240">
                <a:extLst>
                  <a:ext uri="{FF2B5EF4-FFF2-40B4-BE49-F238E27FC236}">
                    <a16:creationId xmlns:a16="http://schemas.microsoft.com/office/drawing/2014/main" id="{E099597C-BBD4-37BB-3CF0-34DA7C6FD2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4463" y="4338638"/>
                <a:ext cx="104775" cy="106363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3" name="Freeform 241">
                <a:extLst>
                  <a:ext uri="{FF2B5EF4-FFF2-40B4-BE49-F238E27FC236}">
                    <a16:creationId xmlns:a16="http://schemas.microsoft.com/office/drawing/2014/main" id="{B6343B3A-7AE9-672B-40DA-37C3E8E22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4300" y="4475163"/>
                <a:ext cx="165100" cy="209550"/>
              </a:xfrm>
              <a:custGeom>
                <a:avLst/>
                <a:gdLst>
                  <a:gd name="T0" fmla="*/ 44 w 44"/>
                  <a:gd name="T1" fmla="*/ 0 h 56"/>
                  <a:gd name="T2" fmla="*/ 0 w 44"/>
                  <a:gd name="T3" fmla="*/ 0 h 56"/>
                  <a:gd name="T4" fmla="*/ 14 w 44"/>
                  <a:gd name="T5" fmla="*/ 30 h 56"/>
                  <a:gd name="T6" fmla="*/ 14 w 44"/>
                  <a:gd name="T7" fmla="*/ 56 h 56"/>
                  <a:gd name="T8" fmla="*/ 30 w 44"/>
                  <a:gd name="T9" fmla="*/ 56 h 56"/>
                  <a:gd name="T10" fmla="*/ 30 w 44"/>
                  <a:gd name="T11" fmla="*/ 30 h 56"/>
                  <a:gd name="T12" fmla="*/ 44 w 44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6">
                    <a:moveTo>
                      <a:pt x="4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7" y="26"/>
                      <a:pt x="14" y="30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7" y="26"/>
                      <a:pt x="44" y="16"/>
                      <a:pt x="4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4" name="Freeform 242">
                <a:extLst>
                  <a:ext uri="{FF2B5EF4-FFF2-40B4-BE49-F238E27FC236}">
                    <a16:creationId xmlns:a16="http://schemas.microsoft.com/office/drawing/2014/main" id="{E6CD05E8-9A33-A564-7A32-B529C4EF1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5" y="4475163"/>
                <a:ext cx="30163" cy="104775"/>
              </a:xfrm>
              <a:custGeom>
                <a:avLst/>
                <a:gdLst>
                  <a:gd name="T0" fmla="*/ 15 w 19"/>
                  <a:gd name="T1" fmla="*/ 0 h 66"/>
                  <a:gd name="T2" fmla="*/ 5 w 19"/>
                  <a:gd name="T3" fmla="*/ 0 h 66"/>
                  <a:gd name="T4" fmla="*/ 0 w 19"/>
                  <a:gd name="T5" fmla="*/ 57 h 66"/>
                  <a:gd name="T6" fmla="*/ 10 w 19"/>
                  <a:gd name="T7" fmla="*/ 66 h 66"/>
                  <a:gd name="T8" fmla="*/ 19 w 19"/>
                  <a:gd name="T9" fmla="*/ 57 h 66"/>
                  <a:gd name="T10" fmla="*/ 15 w 19"/>
                  <a:gd name="T11" fmla="*/ 0 h 66"/>
                  <a:gd name="T12" fmla="*/ 15 w 19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6">
                    <a:moveTo>
                      <a:pt x="15" y="0"/>
                    </a:moveTo>
                    <a:lnTo>
                      <a:pt x="5" y="0"/>
                    </a:lnTo>
                    <a:lnTo>
                      <a:pt x="0" y="57"/>
                    </a:lnTo>
                    <a:lnTo>
                      <a:pt x="10" y="66"/>
                    </a:lnTo>
                    <a:lnTo>
                      <a:pt x="19" y="57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5" name="Freeform 243">
                <a:extLst>
                  <a:ext uri="{FF2B5EF4-FFF2-40B4-BE49-F238E27FC236}">
                    <a16:creationId xmlns:a16="http://schemas.microsoft.com/office/drawing/2014/main" id="{11F05302-57D5-8C6E-58CA-907ED2902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1950" y="4456113"/>
                <a:ext cx="30163" cy="33338"/>
              </a:xfrm>
              <a:custGeom>
                <a:avLst/>
                <a:gdLst>
                  <a:gd name="T0" fmla="*/ 19 w 19"/>
                  <a:gd name="T1" fmla="*/ 0 h 21"/>
                  <a:gd name="T2" fmla="*/ 19 w 19"/>
                  <a:gd name="T3" fmla="*/ 21 h 21"/>
                  <a:gd name="T4" fmla="*/ 0 w 19"/>
                  <a:gd name="T5" fmla="*/ 21 h 21"/>
                  <a:gd name="T6" fmla="*/ 0 w 19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1">
                    <a:moveTo>
                      <a:pt x="19" y="0"/>
                    </a:moveTo>
                    <a:lnTo>
                      <a:pt x="19" y="21"/>
                    </a:lnTo>
                    <a:lnTo>
                      <a:pt x="0" y="21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6" name="Oval 244">
                <a:extLst>
                  <a:ext uri="{FF2B5EF4-FFF2-40B4-BE49-F238E27FC236}">
                    <a16:creationId xmlns:a16="http://schemas.microsoft.com/office/drawing/2014/main" id="{BF709F93-301F-BE2D-EB23-B6385F405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51788" y="4368801"/>
                <a:ext cx="90488" cy="90488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7" name="Line 245">
                <a:extLst>
                  <a:ext uri="{FF2B5EF4-FFF2-40B4-BE49-F238E27FC236}">
                    <a16:creationId xmlns:a16="http://schemas.microsoft.com/office/drawing/2014/main" id="{80C7745D-1B77-0B5B-59BF-46085FA8EE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96238" y="4332288"/>
                <a:ext cx="0" cy="14288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8" name="Line 246">
                <a:extLst>
                  <a:ext uri="{FF2B5EF4-FFF2-40B4-BE49-F238E27FC236}">
                    <a16:creationId xmlns:a16="http://schemas.microsoft.com/office/drawing/2014/main" id="{28C95DC9-F74B-FA67-D9BD-BFD4EC4143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045450" y="4354513"/>
                <a:ext cx="11113" cy="11113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9" name="Line 247">
                <a:extLst>
                  <a:ext uri="{FF2B5EF4-FFF2-40B4-BE49-F238E27FC236}">
                    <a16:creationId xmlns:a16="http://schemas.microsoft.com/office/drawing/2014/main" id="{47AC0FAB-FC5A-55F0-3667-5C1A99A6B5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064500" y="4414838"/>
                <a:ext cx="14288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0" name="Line 248">
                <a:extLst>
                  <a:ext uri="{FF2B5EF4-FFF2-40B4-BE49-F238E27FC236}">
                    <a16:creationId xmlns:a16="http://schemas.microsoft.com/office/drawing/2014/main" id="{991BBB08-AAE8-C0EC-B0CE-49F8F6EE72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045450" y="4464051"/>
                <a:ext cx="11113" cy="635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1" name="Line 249">
                <a:extLst>
                  <a:ext uri="{FF2B5EF4-FFF2-40B4-BE49-F238E27FC236}">
                    <a16:creationId xmlns:a16="http://schemas.microsoft.com/office/drawing/2014/main" id="{00471AC8-304D-B80C-93B9-37DF836DB5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37500" y="4464051"/>
                <a:ext cx="11113" cy="635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2" name="Line 250">
                <a:extLst>
                  <a:ext uri="{FF2B5EF4-FFF2-40B4-BE49-F238E27FC236}">
                    <a16:creationId xmlns:a16="http://schemas.microsoft.com/office/drawing/2014/main" id="{81525049-720D-C33D-4104-3D4D09C2DF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13688" y="4414838"/>
                <a:ext cx="15875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3" name="Line 251">
                <a:extLst>
                  <a:ext uri="{FF2B5EF4-FFF2-40B4-BE49-F238E27FC236}">
                    <a16:creationId xmlns:a16="http://schemas.microsoft.com/office/drawing/2014/main" id="{BDDEF85B-FD50-981F-47E0-B0F59D04B9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37500" y="4354513"/>
                <a:ext cx="11113" cy="11113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784C645D-4D52-8A23-1C5A-90FCE52FCED0}"/>
              </a:ext>
            </a:extLst>
          </p:cNvPr>
          <p:cNvGrpSpPr/>
          <p:nvPr/>
        </p:nvGrpSpPr>
        <p:grpSpPr>
          <a:xfrm>
            <a:off x="3762684" y="4538023"/>
            <a:ext cx="891217" cy="891217"/>
            <a:chOff x="3562867" y="4390764"/>
            <a:chExt cx="891217" cy="891217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E7563037-EF6E-6020-D71A-7620EF4657CB}"/>
                </a:ext>
              </a:extLst>
            </p:cNvPr>
            <p:cNvSpPr/>
            <p:nvPr/>
          </p:nvSpPr>
          <p:spPr>
            <a:xfrm>
              <a:off x="3562867" y="4390764"/>
              <a:ext cx="891217" cy="891217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2ADDFFF6-8A47-E6D5-1772-CE5BFA766029}"/>
                </a:ext>
              </a:extLst>
            </p:cNvPr>
            <p:cNvSpPr/>
            <p:nvPr/>
          </p:nvSpPr>
          <p:spPr>
            <a:xfrm>
              <a:off x="3681203" y="4509100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C5C4A376-6D02-FA14-71AC-54CFEDF18DF9}"/>
                </a:ext>
              </a:extLst>
            </p:cNvPr>
            <p:cNvGrpSpPr/>
            <p:nvPr/>
          </p:nvGrpSpPr>
          <p:grpSpPr>
            <a:xfrm>
              <a:off x="3839407" y="4663335"/>
              <a:ext cx="338137" cy="346075"/>
              <a:chOff x="2686051" y="5060951"/>
              <a:chExt cx="338137" cy="346075"/>
            </a:xfrm>
          </p:grpSpPr>
          <p:sp>
            <p:nvSpPr>
              <p:cNvPr id="245" name="Oval 195">
                <a:extLst>
                  <a:ext uri="{FF2B5EF4-FFF2-40B4-BE49-F238E27FC236}">
                    <a16:creationId xmlns:a16="http://schemas.microsoft.com/office/drawing/2014/main" id="{F1D9A9DD-0BE6-AB6C-6DCA-1457F7E2DD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4626" y="5060951"/>
                <a:ext cx="106363" cy="106363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6" name="Freeform 196">
                <a:extLst>
                  <a:ext uri="{FF2B5EF4-FFF2-40B4-BE49-F238E27FC236}">
                    <a16:creationId xmlns:a16="http://schemas.microsoft.com/office/drawing/2014/main" id="{F27521D3-D099-3F02-0799-FB244BBE3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051" y="5197476"/>
                <a:ext cx="165100" cy="209550"/>
              </a:xfrm>
              <a:custGeom>
                <a:avLst/>
                <a:gdLst>
                  <a:gd name="T0" fmla="*/ 44 w 44"/>
                  <a:gd name="T1" fmla="*/ 0 h 56"/>
                  <a:gd name="T2" fmla="*/ 0 w 44"/>
                  <a:gd name="T3" fmla="*/ 0 h 56"/>
                  <a:gd name="T4" fmla="*/ 14 w 44"/>
                  <a:gd name="T5" fmla="*/ 30 h 56"/>
                  <a:gd name="T6" fmla="*/ 14 w 44"/>
                  <a:gd name="T7" fmla="*/ 56 h 56"/>
                  <a:gd name="T8" fmla="*/ 30 w 44"/>
                  <a:gd name="T9" fmla="*/ 56 h 56"/>
                  <a:gd name="T10" fmla="*/ 30 w 44"/>
                  <a:gd name="T11" fmla="*/ 30 h 56"/>
                  <a:gd name="T12" fmla="*/ 44 w 44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6">
                    <a:moveTo>
                      <a:pt x="4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7" y="26"/>
                      <a:pt x="14" y="30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7" y="26"/>
                      <a:pt x="44" y="16"/>
                      <a:pt x="4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7" name="Freeform 197">
                <a:extLst>
                  <a:ext uri="{FF2B5EF4-FFF2-40B4-BE49-F238E27FC236}">
                    <a16:creationId xmlns:a16="http://schemas.microsoft.com/office/drawing/2014/main" id="{A5043C82-587A-D02F-390F-40E899F95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2726" y="5197476"/>
                <a:ext cx="30163" cy="104775"/>
              </a:xfrm>
              <a:custGeom>
                <a:avLst/>
                <a:gdLst>
                  <a:gd name="T0" fmla="*/ 14 w 19"/>
                  <a:gd name="T1" fmla="*/ 0 h 66"/>
                  <a:gd name="T2" fmla="*/ 5 w 19"/>
                  <a:gd name="T3" fmla="*/ 0 h 66"/>
                  <a:gd name="T4" fmla="*/ 0 w 19"/>
                  <a:gd name="T5" fmla="*/ 57 h 66"/>
                  <a:gd name="T6" fmla="*/ 10 w 19"/>
                  <a:gd name="T7" fmla="*/ 66 h 66"/>
                  <a:gd name="T8" fmla="*/ 19 w 19"/>
                  <a:gd name="T9" fmla="*/ 57 h 66"/>
                  <a:gd name="T10" fmla="*/ 14 w 19"/>
                  <a:gd name="T11" fmla="*/ 0 h 66"/>
                  <a:gd name="T12" fmla="*/ 14 w 19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6">
                    <a:moveTo>
                      <a:pt x="14" y="0"/>
                    </a:moveTo>
                    <a:lnTo>
                      <a:pt x="5" y="0"/>
                    </a:lnTo>
                    <a:lnTo>
                      <a:pt x="0" y="57"/>
                    </a:lnTo>
                    <a:lnTo>
                      <a:pt x="10" y="66"/>
                    </a:lnTo>
                    <a:lnTo>
                      <a:pt x="19" y="57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8" name="Freeform 198">
                <a:extLst>
                  <a:ext uri="{FF2B5EF4-FFF2-40B4-BE49-F238E27FC236}">
                    <a16:creationId xmlns:a16="http://schemas.microsoft.com/office/drawing/2014/main" id="{1A663D49-A5BB-06F2-551B-0E7FC1A67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3213" y="5087939"/>
                <a:ext cx="153988" cy="157163"/>
              </a:xfrm>
              <a:custGeom>
                <a:avLst/>
                <a:gdLst>
                  <a:gd name="T0" fmla="*/ 0 w 41"/>
                  <a:gd name="T1" fmla="*/ 15 h 42"/>
                  <a:gd name="T2" fmla="*/ 20 w 41"/>
                  <a:gd name="T3" fmla="*/ 0 h 42"/>
                  <a:gd name="T4" fmla="*/ 41 w 41"/>
                  <a:gd name="T5" fmla="*/ 21 h 42"/>
                  <a:gd name="T6" fmla="*/ 20 w 41"/>
                  <a:gd name="T7" fmla="*/ 42 h 42"/>
                  <a:gd name="T8" fmla="*/ 10 w 41"/>
                  <a:gd name="T9" fmla="*/ 3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2">
                    <a:moveTo>
                      <a:pt x="0" y="15"/>
                    </a:moveTo>
                    <a:cubicBezTo>
                      <a:pt x="3" y="6"/>
                      <a:pt x="11" y="0"/>
                      <a:pt x="20" y="0"/>
                    </a:cubicBezTo>
                    <a:cubicBezTo>
                      <a:pt x="31" y="0"/>
                      <a:pt x="41" y="10"/>
                      <a:pt x="41" y="21"/>
                    </a:cubicBezTo>
                    <a:cubicBezTo>
                      <a:pt x="41" y="32"/>
                      <a:pt x="31" y="42"/>
                      <a:pt x="20" y="42"/>
                    </a:cubicBezTo>
                    <a:cubicBezTo>
                      <a:pt x="16" y="42"/>
                      <a:pt x="13" y="41"/>
                      <a:pt x="10" y="39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9" name="Line 199">
                <a:extLst>
                  <a:ext uri="{FF2B5EF4-FFF2-40B4-BE49-F238E27FC236}">
                    <a16:creationId xmlns:a16="http://schemas.microsoft.com/office/drawing/2014/main" id="{E9CC3707-C05B-40E5-D9B3-A69C7CFDF6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17826" y="5060951"/>
                <a:ext cx="0" cy="5715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0" name="Line 200">
                <a:extLst>
                  <a:ext uri="{FF2B5EF4-FFF2-40B4-BE49-F238E27FC236}">
                    <a16:creationId xmlns:a16="http://schemas.microsoft.com/office/drawing/2014/main" id="{9E41873A-3949-8A8D-C5FA-C85DFE391F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17826" y="5216526"/>
                <a:ext cx="0" cy="55563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1" name="Line 201">
                <a:extLst>
                  <a:ext uri="{FF2B5EF4-FFF2-40B4-BE49-F238E27FC236}">
                    <a16:creationId xmlns:a16="http://schemas.microsoft.com/office/drawing/2014/main" id="{1D3EC3AC-AE56-1B25-EF88-BE96043B97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67038" y="5167314"/>
                <a:ext cx="5715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8B7BF248-BBB4-CBED-54A3-12B621876DA8}"/>
              </a:ext>
            </a:extLst>
          </p:cNvPr>
          <p:cNvGrpSpPr/>
          <p:nvPr/>
        </p:nvGrpSpPr>
        <p:grpSpPr>
          <a:xfrm>
            <a:off x="7564696" y="4538023"/>
            <a:ext cx="891217" cy="891217"/>
            <a:chOff x="8217474" y="4390764"/>
            <a:chExt cx="891217" cy="891217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BFE098A9-A3E1-FB2E-3498-39C7A1E5D37B}"/>
                </a:ext>
              </a:extLst>
            </p:cNvPr>
            <p:cNvSpPr/>
            <p:nvPr/>
          </p:nvSpPr>
          <p:spPr>
            <a:xfrm>
              <a:off x="8217474" y="4390764"/>
              <a:ext cx="891217" cy="891217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8F9E6801-43A7-7CA8-5D94-FCADC3539B92}"/>
                </a:ext>
              </a:extLst>
            </p:cNvPr>
            <p:cNvSpPr/>
            <p:nvPr/>
          </p:nvSpPr>
          <p:spPr>
            <a:xfrm>
              <a:off x="8335810" y="4509100"/>
              <a:ext cx="654545" cy="654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3904873A-FFEC-991E-AEF3-F33DB5A22E78}"/>
                </a:ext>
              </a:extLst>
            </p:cNvPr>
            <p:cNvGrpSpPr/>
            <p:nvPr/>
          </p:nvGrpSpPr>
          <p:grpSpPr>
            <a:xfrm>
              <a:off x="8494013" y="4663335"/>
              <a:ext cx="338138" cy="346075"/>
              <a:chOff x="3406775" y="5060951"/>
              <a:chExt cx="338138" cy="346075"/>
            </a:xfrm>
          </p:grpSpPr>
          <p:sp>
            <p:nvSpPr>
              <p:cNvPr id="253" name="Oval 321">
                <a:extLst>
                  <a:ext uri="{FF2B5EF4-FFF2-40B4-BE49-F238E27FC236}">
                    <a16:creationId xmlns:a16="http://schemas.microsoft.com/office/drawing/2014/main" id="{6066A08A-8EED-3372-95C0-16748BCBC9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6938" y="5060951"/>
                <a:ext cx="104775" cy="106363"/>
              </a:xfrm>
              <a:prstGeom prst="ellips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4" name="Freeform 322">
                <a:extLst>
                  <a:ext uri="{FF2B5EF4-FFF2-40B4-BE49-F238E27FC236}">
                    <a16:creationId xmlns:a16="http://schemas.microsoft.com/office/drawing/2014/main" id="{6DF72FF0-91FF-7B4A-9065-33FFCABC7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775" y="5197476"/>
                <a:ext cx="165100" cy="209550"/>
              </a:xfrm>
              <a:custGeom>
                <a:avLst/>
                <a:gdLst>
                  <a:gd name="T0" fmla="*/ 44 w 44"/>
                  <a:gd name="T1" fmla="*/ 0 h 56"/>
                  <a:gd name="T2" fmla="*/ 0 w 44"/>
                  <a:gd name="T3" fmla="*/ 0 h 56"/>
                  <a:gd name="T4" fmla="*/ 14 w 44"/>
                  <a:gd name="T5" fmla="*/ 30 h 56"/>
                  <a:gd name="T6" fmla="*/ 14 w 44"/>
                  <a:gd name="T7" fmla="*/ 56 h 56"/>
                  <a:gd name="T8" fmla="*/ 30 w 44"/>
                  <a:gd name="T9" fmla="*/ 56 h 56"/>
                  <a:gd name="T10" fmla="*/ 30 w 44"/>
                  <a:gd name="T11" fmla="*/ 30 h 56"/>
                  <a:gd name="T12" fmla="*/ 44 w 44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6">
                    <a:moveTo>
                      <a:pt x="4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7" y="26"/>
                      <a:pt x="14" y="30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7" y="26"/>
                      <a:pt x="44" y="16"/>
                      <a:pt x="44" y="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5" name="Freeform 323">
                <a:extLst>
                  <a:ext uri="{FF2B5EF4-FFF2-40B4-BE49-F238E27FC236}">
                    <a16:creationId xmlns:a16="http://schemas.microsoft.com/office/drawing/2014/main" id="{71B56FEE-87D1-0851-2EC8-B2EB23486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450" y="5197476"/>
                <a:ext cx="30163" cy="104775"/>
              </a:xfrm>
              <a:custGeom>
                <a:avLst/>
                <a:gdLst>
                  <a:gd name="T0" fmla="*/ 15 w 19"/>
                  <a:gd name="T1" fmla="*/ 0 h 66"/>
                  <a:gd name="T2" fmla="*/ 5 w 19"/>
                  <a:gd name="T3" fmla="*/ 0 h 66"/>
                  <a:gd name="T4" fmla="*/ 0 w 19"/>
                  <a:gd name="T5" fmla="*/ 57 h 66"/>
                  <a:gd name="T6" fmla="*/ 10 w 19"/>
                  <a:gd name="T7" fmla="*/ 66 h 66"/>
                  <a:gd name="T8" fmla="*/ 19 w 19"/>
                  <a:gd name="T9" fmla="*/ 57 h 66"/>
                  <a:gd name="T10" fmla="*/ 15 w 19"/>
                  <a:gd name="T11" fmla="*/ 0 h 66"/>
                  <a:gd name="T12" fmla="*/ 15 w 19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6">
                    <a:moveTo>
                      <a:pt x="15" y="0"/>
                    </a:moveTo>
                    <a:lnTo>
                      <a:pt x="5" y="0"/>
                    </a:lnTo>
                    <a:lnTo>
                      <a:pt x="0" y="57"/>
                    </a:lnTo>
                    <a:lnTo>
                      <a:pt x="10" y="66"/>
                    </a:lnTo>
                    <a:lnTo>
                      <a:pt x="19" y="57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6" name="Freeform 324">
                <a:extLst>
                  <a:ext uri="{FF2B5EF4-FFF2-40B4-BE49-F238E27FC236}">
                    <a16:creationId xmlns:a16="http://schemas.microsoft.com/office/drawing/2014/main" id="{5A7D1BE5-7BEA-7ACE-2209-279A2C167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875" y="5065713"/>
                <a:ext cx="173038" cy="277813"/>
              </a:xfrm>
              <a:custGeom>
                <a:avLst/>
                <a:gdLst>
                  <a:gd name="T0" fmla="*/ 0 w 46"/>
                  <a:gd name="T1" fmla="*/ 66 h 74"/>
                  <a:gd name="T2" fmla="*/ 14 w 46"/>
                  <a:gd name="T3" fmla="*/ 74 h 74"/>
                  <a:gd name="T4" fmla="*/ 46 w 46"/>
                  <a:gd name="T5" fmla="*/ 15 h 74"/>
                  <a:gd name="T6" fmla="*/ 14 w 46"/>
                  <a:gd name="T7" fmla="*/ 0 h 74"/>
                  <a:gd name="T8" fmla="*/ 14 w 46"/>
                  <a:gd name="T9" fmla="*/ 0 h 74"/>
                  <a:gd name="T10" fmla="*/ 2 w 46"/>
                  <a:gd name="T11" fmla="*/ 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74">
                    <a:moveTo>
                      <a:pt x="0" y="66"/>
                    </a:moveTo>
                    <a:cubicBezTo>
                      <a:pt x="4" y="69"/>
                      <a:pt x="8" y="72"/>
                      <a:pt x="14" y="74"/>
                    </a:cubicBezTo>
                    <a:cubicBezTo>
                      <a:pt x="44" y="63"/>
                      <a:pt x="46" y="40"/>
                      <a:pt x="46" y="15"/>
                    </a:cubicBezTo>
                    <a:cubicBezTo>
                      <a:pt x="46" y="15"/>
                      <a:pt x="22" y="8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1" y="3"/>
                      <a:pt x="7" y="5"/>
                      <a:pt x="2" y="8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7" name="Freeform 325">
                <a:extLst>
                  <a:ext uri="{FF2B5EF4-FFF2-40B4-BE49-F238E27FC236}">
                    <a16:creationId xmlns:a16="http://schemas.microsoft.com/office/drawing/2014/main" id="{3AAA02BC-A395-3D5C-25F6-6F81ECA62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9975" y="5137151"/>
                <a:ext cx="74613" cy="120650"/>
              </a:xfrm>
              <a:custGeom>
                <a:avLst/>
                <a:gdLst>
                  <a:gd name="T0" fmla="*/ 0 w 47"/>
                  <a:gd name="T1" fmla="*/ 28 h 76"/>
                  <a:gd name="T2" fmla="*/ 0 w 47"/>
                  <a:gd name="T3" fmla="*/ 0 h 76"/>
                  <a:gd name="T4" fmla="*/ 19 w 47"/>
                  <a:gd name="T5" fmla="*/ 0 h 76"/>
                  <a:gd name="T6" fmla="*/ 19 w 47"/>
                  <a:gd name="T7" fmla="*/ 28 h 76"/>
                  <a:gd name="T8" fmla="*/ 47 w 47"/>
                  <a:gd name="T9" fmla="*/ 28 h 76"/>
                  <a:gd name="T10" fmla="*/ 47 w 47"/>
                  <a:gd name="T11" fmla="*/ 47 h 76"/>
                  <a:gd name="T12" fmla="*/ 19 w 47"/>
                  <a:gd name="T13" fmla="*/ 47 h 76"/>
                  <a:gd name="T14" fmla="*/ 19 w 47"/>
                  <a:gd name="T15" fmla="*/ 76 h 76"/>
                  <a:gd name="T16" fmla="*/ 0 w 47"/>
                  <a:gd name="T17" fmla="*/ 76 h 76"/>
                  <a:gd name="T18" fmla="*/ 0 w 47"/>
                  <a:gd name="T19" fmla="*/ 5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76">
                    <a:moveTo>
                      <a:pt x="0" y="28"/>
                    </a:moveTo>
                    <a:lnTo>
                      <a:pt x="0" y="0"/>
                    </a:lnTo>
                    <a:lnTo>
                      <a:pt x="19" y="0"/>
                    </a:lnTo>
                    <a:lnTo>
                      <a:pt x="19" y="28"/>
                    </a:lnTo>
                    <a:lnTo>
                      <a:pt x="47" y="28"/>
                    </a:lnTo>
                    <a:lnTo>
                      <a:pt x="47" y="47"/>
                    </a:lnTo>
                    <a:lnTo>
                      <a:pt x="19" y="47"/>
                    </a:lnTo>
                    <a:lnTo>
                      <a:pt x="19" y="76"/>
                    </a:lnTo>
                    <a:lnTo>
                      <a:pt x="0" y="76"/>
                    </a:lnTo>
                    <a:lnTo>
                      <a:pt x="0" y="52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76" name="Slide Number Placeholder 3">
            <a:extLst>
              <a:ext uri="{FF2B5EF4-FFF2-40B4-BE49-F238E27FC236}">
                <a16:creationId xmlns:a16="http://schemas.microsoft.com/office/drawing/2014/main" id="{37DD1206-012B-B305-A850-41FAFA5A9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6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081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ight Triangle 65">
            <a:extLst>
              <a:ext uri="{FF2B5EF4-FFF2-40B4-BE49-F238E27FC236}">
                <a16:creationId xmlns:a16="http://schemas.microsoft.com/office/drawing/2014/main" id="{B5CD02DD-9848-35D9-9E0F-D439BA45CAE2}"/>
              </a:ext>
            </a:extLst>
          </p:cNvPr>
          <p:cNvSpPr/>
          <p:nvPr/>
        </p:nvSpPr>
        <p:spPr>
          <a:xfrm flipH="1" flipV="1">
            <a:off x="393622" y="3743164"/>
            <a:ext cx="144780" cy="29712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79265FB-6E3B-95ED-74F9-5CE8E3CB5075}"/>
              </a:ext>
            </a:extLst>
          </p:cNvPr>
          <p:cNvSpPr/>
          <p:nvPr/>
        </p:nvSpPr>
        <p:spPr>
          <a:xfrm>
            <a:off x="515938" y="549275"/>
            <a:ext cx="11160125" cy="2520000"/>
          </a:xfrm>
          <a:prstGeom prst="rect">
            <a:avLst/>
          </a:prstGeom>
          <a:gradFill>
            <a:gsLst>
              <a:gs pos="0">
                <a:srgbClr val="004019"/>
              </a:gs>
              <a:gs pos="100000">
                <a:srgbClr val="00714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" name="Picture 64" descr="A group of people outside&#10;&#10;Description automatically generated with low confidence">
            <a:extLst>
              <a:ext uri="{FF2B5EF4-FFF2-40B4-BE49-F238E27FC236}">
                <a16:creationId xmlns:a16="http://schemas.microsoft.com/office/drawing/2014/main" id="{D5A75C62-6B9D-0EE7-49A6-E4B3324823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1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937" y="549275"/>
            <a:ext cx="11172316" cy="2501037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84E7950E-C76B-651F-F90D-5EEE280E1462}"/>
              </a:ext>
            </a:extLst>
          </p:cNvPr>
          <p:cNvSpPr/>
          <p:nvPr/>
        </p:nvSpPr>
        <p:spPr>
          <a:xfrm>
            <a:off x="515938" y="3245170"/>
            <a:ext cx="11160125" cy="2520000"/>
          </a:xfrm>
          <a:prstGeom prst="rect">
            <a:avLst/>
          </a:prstGeom>
          <a:gradFill flip="none" rotWithShape="1">
            <a:gsLst>
              <a:gs pos="0">
                <a:srgbClr val="4D0001"/>
              </a:gs>
              <a:gs pos="100000">
                <a:srgbClr val="A2041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62" descr="A large crowd of people&#10;&#10;Description automatically generated with medium confidence">
            <a:extLst>
              <a:ext uri="{FF2B5EF4-FFF2-40B4-BE49-F238E27FC236}">
                <a16:creationId xmlns:a16="http://schemas.microsoft.com/office/drawing/2014/main" id="{78EB8BE0-9C5E-097A-E282-C7F9F8E61C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938" y="3245170"/>
            <a:ext cx="11138814" cy="2520000"/>
          </a:xfrm>
          <a:prstGeom prst="rect">
            <a:avLst/>
          </a:prstGeom>
        </p:spPr>
      </p:pic>
      <p:pic>
        <p:nvPicPr>
          <p:cNvPr id="37" name="Picture 36" descr="Businessman thumbs up">
            <a:extLst>
              <a:ext uri="{FF2B5EF4-FFF2-40B4-BE49-F238E27FC236}">
                <a16:creationId xmlns:a16="http://schemas.microsoft.com/office/drawing/2014/main" id="{400E9A11-DFB1-38A5-E1F3-AC3A5984D88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9285" y="289856"/>
            <a:ext cx="2332357" cy="2778196"/>
          </a:xfrm>
          <a:custGeom>
            <a:avLst/>
            <a:gdLst>
              <a:gd name="connsiteX0" fmla="*/ 0 w 2332357"/>
              <a:gd name="connsiteY0" fmla="*/ 0 h 2778196"/>
              <a:gd name="connsiteX1" fmla="*/ 2332357 w 2332357"/>
              <a:gd name="connsiteY1" fmla="*/ 0 h 2778196"/>
              <a:gd name="connsiteX2" fmla="*/ 2332357 w 2332357"/>
              <a:gd name="connsiteY2" fmla="*/ 2778196 h 2778196"/>
              <a:gd name="connsiteX3" fmla="*/ 0 w 2332357"/>
              <a:gd name="connsiteY3" fmla="*/ 2778196 h 27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32357" h="2778196">
                <a:moveTo>
                  <a:pt x="0" y="0"/>
                </a:moveTo>
                <a:lnTo>
                  <a:pt x="2332357" y="0"/>
                </a:lnTo>
                <a:lnTo>
                  <a:pt x="2332357" y="2778196"/>
                </a:lnTo>
                <a:lnTo>
                  <a:pt x="0" y="2778196"/>
                </a:lnTo>
                <a:close/>
              </a:path>
            </a:pathLst>
          </a:custGeom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C2337474-FA2B-7D0C-D6FB-F663272A6DB7}"/>
              </a:ext>
            </a:extLst>
          </p:cNvPr>
          <p:cNvGrpSpPr/>
          <p:nvPr/>
        </p:nvGrpSpPr>
        <p:grpSpPr>
          <a:xfrm>
            <a:off x="6108138" y="1206535"/>
            <a:ext cx="2520000" cy="1372532"/>
            <a:chOff x="515938" y="760869"/>
            <a:chExt cx="3073082" cy="137253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7F2F6DD-AA6E-5312-C6F5-4E920A689F11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85242F9-7432-CB15-4E66-7F369C9CD6DA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3FB1EA2-0D26-0F3E-C44F-E56AE69B2760}"/>
              </a:ext>
            </a:extLst>
          </p:cNvPr>
          <p:cNvGrpSpPr/>
          <p:nvPr/>
        </p:nvGrpSpPr>
        <p:grpSpPr>
          <a:xfrm>
            <a:off x="8926385" y="1206535"/>
            <a:ext cx="2520000" cy="1372532"/>
            <a:chOff x="515938" y="760869"/>
            <a:chExt cx="3073082" cy="1372532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EE67DBE-1367-EB17-0FB0-AB3D65ABABA2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0140F69-5D4D-F40C-F1BB-47254DDB0EE1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FAD8575-6292-DA8A-34E4-AEAF46FC46A3}"/>
              </a:ext>
            </a:extLst>
          </p:cNvPr>
          <p:cNvGrpSpPr/>
          <p:nvPr/>
        </p:nvGrpSpPr>
        <p:grpSpPr>
          <a:xfrm>
            <a:off x="745615" y="3926635"/>
            <a:ext cx="2520000" cy="1372532"/>
            <a:chOff x="515938" y="760869"/>
            <a:chExt cx="3073082" cy="1372532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21AF026-BDD2-9DF4-B286-667571356997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319692D-6AAA-8148-C5C5-58562A9386C2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23F16D-722A-89E1-B178-57B58B2A7596}"/>
              </a:ext>
            </a:extLst>
          </p:cNvPr>
          <p:cNvGrpSpPr/>
          <p:nvPr/>
        </p:nvGrpSpPr>
        <p:grpSpPr>
          <a:xfrm>
            <a:off x="3563863" y="3926635"/>
            <a:ext cx="2520000" cy="1372532"/>
            <a:chOff x="515938" y="760869"/>
            <a:chExt cx="3073082" cy="1372532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0D059A0-3EB2-ED16-D857-89B21968478F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159033B-0128-4BA5-9642-E36A531C827A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79D5B28-6CA2-1885-9954-B7274B385B19}"/>
              </a:ext>
            </a:extLst>
          </p:cNvPr>
          <p:cNvGrpSpPr/>
          <p:nvPr/>
        </p:nvGrpSpPr>
        <p:grpSpPr>
          <a:xfrm>
            <a:off x="6382110" y="3926635"/>
            <a:ext cx="2520000" cy="1372532"/>
            <a:chOff x="515938" y="760869"/>
            <a:chExt cx="3073082" cy="1372532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735C447-2595-55E4-AE00-73189BB7130E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EF3A732-0FF9-13A6-7ECB-F336DD034FFC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A23CD69-B875-4F2D-D1EA-E5C77B90A7E2}"/>
              </a:ext>
            </a:extLst>
          </p:cNvPr>
          <p:cNvGrpSpPr/>
          <p:nvPr/>
        </p:nvGrpSpPr>
        <p:grpSpPr>
          <a:xfrm>
            <a:off x="3289890" y="1206535"/>
            <a:ext cx="2520000" cy="1372532"/>
            <a:chOff x="515938" y="760869"/>
            <a:chExt cx="3073082" cy="1372532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46B7CD0-92BC-7BE4-7097-3B1F0651DF9F}"/>
                </a:ext>
              </a:extLst>
            </p:cNvPr>
            <p:cNvSpPr txBox="1"/>
            <p:nvPr/>
          </p:nvSpPr>
          <p:spPr>
            <a:xfrm>
              <a:off x="515938" y="760869"/>
              <a:ext cx="207486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Lorem Ipsum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FC00C00-92EF-0585-85B6-6953B6CB7765}"/>
                </a:ext>
              </a:extLst>
            </p:cNvPr>
            <p:cNvSpPr txBox="1"/>
            <p:nvPr/>
          </p:nvSpPr>
          <p:spPr>
            <a:xfrm>
              <a:off x="515938" y="1056183"/>
              <a:ext cx="3073082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sed do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eiusmod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tempor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incididun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ut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 labore et dolore magna </a:t>
              </a:r>
              <a:r>
                <a:rPr lang="en-US" sz="1400" b="0" i="0" dirty="0" err="1">
                  <a:solidFill>
                    <a:schemeClr val="bg1"/>
                  </a:solidFill>
                  <a:effectLst/>
                </a:rPr>
                <a:t>aliqua</a:t>
              </a:r>
              <a:r>
                <a:rPr lang="en-US" sz="1400" b="0" i="0" dirty="0">
                  <a:solidFill>
                    <a:schemeClr val="bg1"/>
                  </a:solidFill>
                  <a:effectLst/>
                </a:rPr>
                <a:t>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A764B974-986D-3D2F-B7B8-CE685697E20A}"/>
              </a:ext>
            </a:extLst>
          </p:cNvPr>
          <p:cNvSpPr/>
          <p:nvPr/>
        </p:nvSpPr>
        <p:spPr>
          <a:xfrm>
            <a:off x="393622" y="3395927"/>
            <a:ext cx="2179319" cy="347237"/>
          </a:xfrm>
          <a:prstGeom prst="homePlate">
            <a:avLst/>
          </a:prstGeom>
          <a:solidFill>
            <a:srgbClr val="4D000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ctr"/>
          <a:lstStyle/>
          <a:p>
            <a:r>
              <a:rPr lang="en-US" b="1" dirty="0">
                <a:latin typeface="+mj-lt"/>
              </a:rPr>
              <a:t>CON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473124-CEF2-70F9-2BC6-EF0216BB84C1}"/>
              </a:ext>
            </a:extLst>
          </p:cNvPr>
          <p:cNvGrpSpPr/>
          <p:nvPr/>
        </p:nvGrpSpPr>
        <p:grpSpPr>
          <a:xfrm>
            <a:off x="1986354" y="3422299"/>
            <a:ext cx="294492" cy="294492"/>
            <a:chOff x="7393577" y="1019186"/>
            <a:chExt cx="474283" cy="474283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A0A7436-14ED-C20C-97A3-BE70DB08842F}"/>
                </a:ext>
              </a:extLst>
            </p:cNvPr>
            <p:cNvSpPr/>
            <p:nvPr/>
          </p:nvSpPr>
          <p:spPr>
            <a:xfrm>
              <a:off x="7393577" y="1019186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F9B43C9-5470-AE5E-05D9-EEEA90599DFC}"/>
                </a:ext>
              </a:extLst>
            </p:cNvPr>
            <p:cNvGrpSpPr/>
            <p:nvPr/>
          </p:nvGrpSpPr>
          <p:grpSpPr>
            <a:xfrm flipV="1">
              <a:off x="7487712" y="1123817"/>
              <a:ext cx="286013" cy="265021"/>
              <a:chOff x="2982913" y="6350"/>
              <a:chExt cx="346075" cy="320675"/>
            </a:xfrm>
          </p:grpSpPr>
          <p:sp>
            <p:nvSpPr>
              <p:cNvPr id="71" name="Freeform 80">
                <a:extLst>
                  <a:ext uri="{FF2B5EF4-FFF2-40B4-BE49-F238E27FC236}">
                    <a16:creationId xmlns:a16="http://schemas.microsoft.com/office/drawing/2014/main" id="{C8AB6FA7-7844-4113-434C-D7B4682F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72" name="Rectangle 81">
                <a:extLst>
                  <a:ext uri="{FF2B5EF4-FFF2-40B4-BE49-F238E27FC236}">
                    <a16:creationId xmlns:a16="http://schemas.microsoft.com/office/drawing/2014/main" id="{828881DF-B7F7-3695-EE25-78FC666686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3" name="Oval 82">
                <a:extLst>
                  <a:ext uri="{FF2B5EF4-FFF2-40B4-BE49-F238E27FC236}">
                    <a16:creationId xmlns:a16="http://schemas.microsoft.com/office/drawing/2014/main" id="{D12D1701-4078-9E5D-52B6-E400FBE05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A2041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74" name="Right Triangle 73">
            <a:extLst>
              <a:ext uri="{FF2B5EF4-FFF2-40B4-BE49-F238E27FC236}">
                <a16:creationId xmlns:a16="http://schemas.microsoft.com/office/drawing/2014/main" id="{9D6FEEFA-8B3C-5228-750C-83254A9C08DB}"/>
              </a:ext>
            </a:extLst>
          </p:cNvPr>
          <p:cNvSpPr/>
          <p:nvPr/>
        </p:nvSpPr>
        <p:spPr>
          <a:xfrm flipV="1">
            <a:off x="11666220" y="1015051"/>
            <a:ext cx="144780" cy="29712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Arrow: Pentagon 74">
            <a:extLst>
              <a:ext uri="{FF2B5EF4-FFF2-40B4-BE49-F238E27FC236}">
                <a16:creationId xmlns:a16="http://schemas.microsoft.com/office/drawing/2014/main" id="{81462E8B-6069-3B2B-1C8C-20C2B4C37AE5}"/>
              </a:ext>
            </a:extLst>
          </p:cNvPr>
          <p:cNvSpPr/>
          <p:nvPr/>
        </p:nvSpPr>
        <p:spPr>
          <a:xfrm flipH="1">
            <a:off x="9631680" y="691932"/>
            <a:ext cx="2179320" cy="334800"/>
          </a:xfrm>
          <a:prstGeom prst="homePlate">
            <a:avLst/>
          </a:prstGeom>
          <a:solidFill>
            <a:srgbClr val="004019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540000" rtlCol="0" anchor="ctr"/>
          <a:lstStyle/>
          <a:p>
            <a:pPr algn="r"/>
            <a:r>
              <a:rPr lang="en-US" b="1" dirty="0">
                <a:latin typeface="+mj-lt"/>
              </a:rPr>
              <a:t>PROS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543CC87-E585-B95A-6384-BE07BDC0AF3F}"/>
              </a:ext>
            </a:extLst>
          </p:cNvPr>
          <p:cNvGrpSpPr/>
          <p:nvPr/>
        </p:nvGrpSpPr>
        <p:grpSpPr>
          <a:xfrm>
            <a:off x="9893046" y="720182"/>
            <a:ext cx="295200" cy="295200"/>
            <a:chOff x="4276786" y="1375502"/>
            <a:chExt cx="474283" cy="474283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D7CB25C-E78A-0A5D-2A3D-03E7B4475A65}"/>
                </a:ext>
              </a:extLst>
            </p:cNvPr>
            <p:cNvSpPr/>
            <p:nvPr/>
          </p:nvSpPr>
          <p:spPr>
            <a:xfrm>
              <a:off x="4276786" y="1375502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088F7F7-9F22-98ED-510E-180F79A5F4A4}"/>
                </a:ext>
              </a:extLst>
            </p:cNvPr>
            <p:cNvGrpSpPr/>
            <p:nvPr/>
          </p:nvGrpSpPr>
          <p:grpSpPr>
            <a:xfrm>
              <a:off x="4370921" y="1480133"/>
              <a:ext cx="286013" cy="265021"/>
              <a:chOff x="2982913" y="6350"/>
              <a:chExt cx="346075" cy="320675"/>
            </a:xfrm>
          </p:grpSpPr>
          <p:sp>
            <p:nvSpPr>
              <p:cNvPr id="79" name="Freeform 80">
                <a:extLst>
                  <a:ext uri="{FF2B5EF4-FFF2-40B4-BE49-F238E27FC236}">
                    <a16:creationId xmlns:a16="http://schemas.microsoft.com/office/drawing/2014/main" id="{DEA0C1CB-4B51-ADEB-8345-6C3D013AA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0" name="Rectangle 81">
                <a:extLst>
                  <a:ext uri="{FF2B5EF4-FFF2-40B4-BE49-F238E27FC236}">
                    <a16:creationId xmlns:a16="http://schemas.microsoft.com/office/drawing/2014/main" id="{8B51A908-90FE-A3FC-BFD1-FC4AE8D80C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1" name="Oval 82">
                <a:extLst>
                  <a:ext uri="{FF2B5EF4-FFF2-40B4-BE49-F238E27FC236}">
                    <a16:creationId xmlns:a16="http://schemas.microsoft.com/office/drawing/2014/main" id="{08F58682-258C-6DCA-335C-454D55BEEE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00714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4DE0A3D-E407-394D-A360-F01C97EEAA2C}"/>
              </a:ext>
            </a:extLst>
          </p:cNvPr>
          <p:cNvGrpSpPr/>
          <p:nvPr/>
        </p:nvGrpSpPr>
        <p:grpSpPr>
          <a:xfrm>
            <a:off x="3289890" y="2676094"/>
            <a:ext cx="425681" cy="122265"/>
            <a:chOff x="3289890" y="2676094"/>
            <a:chExt cx="425681" cy="122265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2FC4697A-9215-3FD7-73CC-731076DD688F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solidFill>
              <a:srgbClr val="00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8DA7D54-69A0-BFC1-9C27-FB6A688B8021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F1C1649-3F0B-A56A-8470-005605873553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CDEDAD0-5FFA-41EB-FC1F-36D679F1A771}"/>
              </a:ext>
            </a:extLst>
          </p:cNvPr>
          <p:cNvGrpSpPr/>
          <p:nvPr/>
        </p:nvGrpSpPr>
        <p:grpSpPr>
          <a:xfrm>
            <a:off x="6108137" y="2676094"/>
            <a:ext cx="425681" cy="122265"/>
            <a:chOff x="3289890" y="2676094"/>
            <a:chExt cx="425681" cy="122265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8514BAC1-8126-01AE-D751-8635A9D55C5B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solidFill>
              <a:srgbClr val="00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3BC2329D-B2A2-2E37-7903-F62D3BE0E146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solidFill>
              <a:srgbClr val="00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831A1755-9C35-D9C5-7C39-A4443CEAA6AF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solidFill>
              <a:srgbClr val="0071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FA7D3FE2-DCF5-CDEF-720C-BB754A69959A}"/>
              </a:ext>
            </a:extLst>
          </p:cNvPr>
          <p:cNvGrpSpPr/>
          <p:nvPr/>
        </p:nvGrpSpPr>
        <p:grpSpPr>
          <a:xfrm>
            <a:off x="8926385" y="2676094"/>
            <a:ext cx="425681" cy="122265"/>
            <a:chOff x="3289890" y="2676094"/>
            <a:chExt cx="425681" cy="122265"/>
          </a:xfrm>
          <a:solidFill>
            <a:srgbClr val="004019"/>
          </a:solidFill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A6429438-6164-4A06-0375-BC604B5D2D8D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7BD3C429-6CFB-FDB0-2FE5-26E4D04D9AAF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CE460331-007A-C99F-2408-5C6E1848E4FB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9F9B5E1-2F54-48C1-A013-52F96B7AF0B4}"/>
              </a:ext>
            </a:extLst>
          </p:cNvPr>
          <p:cNvCxnSpPr>
            <a:cxnSpLocks/>
          </p:cNvCxnSpPr>
          <p:nvPr/>
        </p:nvCxnSpPr>
        <p:spPr>
          <a:xfrm>
            <a:off x="3751110" y="2737226"/>
            <a:ext cx="2321488" cy="0"/>
          </a:xfrm>
          <a:prstGeom prst="line">
            <a:avLst/>
          </a:prstGeom>
          <a:ln>
            <a:solidFill>
              <a:srgbClr val="92D05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E75B745-F7A5-5588-2034-320C1753F0B1}"/>
              </a:ext>
            </a:extLst>
          </p:cNvPr>
          <p:cNvCxnSpPr>
            <a:cxnSpLocks/>
          </p:cNvCxnSpPr>
          <p:nvPr/>
        </p:nvCxnSpPr>
        <p:spPr>
          <a:xfrm>
            <a:off x="6569358" y="2737226"/>
            <a:ext cx="2321488" cy="0"/>
          </a:xfrm>
          <a:prstGeom prst="line">
            <a:avLst/>
          </a:prstGeom>
          <a:ln>
            <a:solidFill>
              <a:srgbClr val="92D05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57E9F29-A7A2-FD3C-AF8B-287A59002EDD}"/>
              </a:ext>
            </a:extLst>
          </p:cNvPr>
          <p:cNvCxnSpPr>
            <a:cxnSpLocks/>
          </p:cNvCxnSpPr>
          <p:nvPr/>
        </p:nvCxnSpPr>
        <p:spPr>
          <a:xfrm>
            <a:off x="9386115" y="2737226"/>
            <a:ext cx="2289948" cy="0"/>
          </a:xfrm>
          <a:prstGeom prst="line">
            <a:avLst/>
          </a:prstGeom>
          <a:ln>
            <a:solidFill>
              <a:srgbClr val="92D05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3A85F1C-F6DA-27EF-B7AB-9BE77B889A8A}"/>
              </a:ext>
            </a:extLst>
          </p:cNvPr>
          <p:cNvCxnSpPr>
            <a:cxnSpLocks/>
          </p:cNvCxnSpPr>
          <p:nvPr/>
        </p:nvCxnSpPr>
        <p:spPr>
          <a:xfrm>
            <a:off x="1206579" y="5457326"/>
            <a:ext cx="2322000" cy="0"/>
          </a:xfrm>
          <a:prstGeom prst="line">
            <a:avLst/>
          </a:prstGeom>
          <a:ln>
            <a:solidFill>
              <a:srgbClr val="FF000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68D2946-65FA-7328-5B7E-8A1775162F00}"/>
              </a:ext>
            </a:extLst>
          </p:cNvPr>
          <p:cNvGrpSpPr/>
          <p:nvPr/>
        </p:nvGrpSpPr>
        <p:grpSpPr>
          <a:xfrm>
            <a:off x="745615" y="5396194"/>
            <a:ext cx="425681" cy="122265"/>
            <a:chOff x="3289890" y="2676094"/>
            <a:chExt cx="425681" cy="122265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DE1D3F80-F555-D69B-F00B-933FA2645747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solidFill>
              <a:srgbClr val="4D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64F9F4D6-E0C0-5D45-FFD2-DC7D756975E2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9527BEAF-3657-C096-27C3-E10CB3142E18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8965C61-8B8F-4130-AD38-778FE4F74DC8}"/>
              </a:ext>
            </a:extLst>
          </p:cNvPr>
          <p:cNvGrpSpPr/>
          <p:nvPr/>
        </p:nvGrpSpPr>
        <p:grpSpPr>
          <a:xfrm>
            <a:off x="3563862" y="5396194"/>
            <a:ext cx="425681" cy="122265"/>
            <a:chOff x="3289890" y="2676094"/>
            <a:chExt cx="425681" cy="122265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1B071FF-49F4-5F8D-81EE-9D2496A53BAA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solidFill>
              <a:srgbClr val="4D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E13FA0D-7EAD-E216-FCF2-F0DAC2E243A9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solidFill>
              <a:srgbClr val="4D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0D50E383-FB44-98B5-1373-63F101052FD5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solidFill>
              <a:srgbClr val="A20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3618237-8609-7368-B174-158FBE7D718D}"/>
              </a:ext>
            </a:extLst>
          </p:cNvPr>
          <p:cNvGrpSpPr/>
          <p:nvPr/>
        </p:nvGrpSpPr>
        <p:grpSpPr>
          <a:xfrm>
            <a:off x="6382110" y="5396194"/>
            <a:ext cx="425681" cy="122265"/>
            <a:chOff x="3289890" y="2676094"/>
            <a:chExt cx="425681" cy="122265"/>
          </a:xfrm>
          <a:solidFill>
            <a:srgbClr val="4D0001"/>
          </a:solidFill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7C19F6E0-8CC0-98E8-6A47-3D866618A04D}"/>
                </a:ext>
              </a:extLst>
            </p:cNvPr>
            <p:cNvSpPr/>
            <p:nvPr/>
          </p:nvSpPr>
          <p:spPr>
            <a:xfrm>
              <a:off x="3289890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5ECE8352-F37A-4F16-FAA6-EEAF83887F5A}"/>
                </a:ext>
              </a:extLst>
            </p:cNvPr>
            <p:cNvSpPr/>
            <p:nvPr/>
          </p:nvSpPr>
          <p:spPr>
            <a:xfrm>
              <a:off x="3441598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3D13A393-B019-947D-DF40-21D6C4A2F201}"/>
                </a:ext>
              </a:extLst>
            </p:cNvPr>
            <p:cNvSpPr/>
            <p:nvPr/>
          </p:nvSpPr>
          <p:spPr>
            <a:xfrm>
              <a:off x="3593306" y="2676094"/>
              <a:ext cx="122265" cy="12226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2DCF537-A226-118F-D25F-FA1E8ADD78E0}"/>
              </a:ext>
            </a:extLst>
          </p:cNvPr>
          <p:cNvCxnSpPr>
            <a:cxnSpLocks/>
          </p:cNvCxnSpPr>
          <p:nvPr/>
        </p:nvCxnSpPr>
        <p:spPr>
          <a:xfrm>
            <a:off x="4024827" y="5457326"/>
            <a:ext cx="2322000" cy="0"/>
          </a:xfrm>
          <a:prstGeom prst="line">
            <a:avLst/>
          </a:prstGeom>
          <a:ln>
            <a:solidFill>
              <a:srgbClr val="FF000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1E0A1F1-5520-BDAC-6529-3BD7A14967B7}"/>
              </a:ext>
            </a:extLst>
          </p:cNvPr>
          <p:cNvCxnSpPr>
            <a:cxnSpLocks/>
          </p:cNvCxnSpPr>
          <p:nvPr/>
        </p:nvCxnSpPr>
        <p:spPr>
          <a:xfrm>
            <a:off x="6849783" y="5457326"/>
            <a:ext cx="3141051" cy="0"/>
          </a:xfrm>
          <a:prstGeom prst="line">
            <a:avLst/>
          </a:prstGeom>
          <a:ln>
            <a:solidFill>
              <a:srgbClr val="FF0000">
                <a:alpha val="7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 descr="Young businessman thumbs down">
            <a:extLst>
              <a:ext uri="{FF2B5EF4-FFF2-40B4-BE49-F238E27FC236}">
                <a16:creationId xmlns:a16="http://schemas.microsoft.com/office/drawing/2014/main" id="{0D61A08A-0217-19F1-8D4F-8F0D647563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741573" y="2828756"/>
            <a:ext cx="2704811" cy="2935851"/>
          </a:xfrm>
          <a:custGeom>
            <a:avLst/>
            <a:gdLst>
              <a:gd name="connsiteX0" fmla="*/ 0 w 3376318"/>
              <a:gd name="connsiteY0" fmla="*/ 0 h 3664718"/>
              <a:gd name="connsiteX1" fmla="*/ 3376318 w 3376318"/>
              <a:gd name="connsiteY1" fmla="*/ 0 h 3664718"/>
              <a:gd name="connsiteX2" fmla="*/ 3376318 w 3376318"/>
              <a:gd name="connsiteY2" fmla="*/ 3664718 h 3664718"/>
              <a:gd name="connsiteX3" fmla="*/ 0 w 3376318"/>
              <a:gd name="connsiteY3" fmla="*/ 3664718 h 3664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76318" h="3664718">
                <a:moveTo>
                  <a:pt x="0" y="0"/>
                </a:moveTo>
                <a:lnTo>
                  <a:pt x="3376318" y="0"/>
                </a:lnTo>
                <a:lnTo>
                  <a:pt x="3376318" y="3664718"/>
                </a:lnTo>
                <a:lnTo>
                  <a:pt x="0" y="3664718"/>
                </a:lnTo>
                <a:close/>
              </a:path>
            </a:pathLst>
          </a:custGeom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</p:pic>
      <p:sp>
        <p:nvSpPr>
          <p:cNvPr id="116" name="Slide Number Placeholder 3">
            <a:extLst>
              <a:ext uri="{FF2B5EF4-FFF2-40B4-BE49-F238E27FC236}">
                <a16:creationId xmlns:a16="http://schemas.microsoft.com/office/drawing/2014/main" id="{8936A20A-9231-58EE-F6E6-64F8B7B29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7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091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F5D68F7-1194-62A6-789A-2C6ED8829FD0}"/>
              </a:ext>
            </a:extLst>
          </p:cNvPr>
          <p:cNvSpPr/>
          <p:nvPr/>
        </p:nvSpPr>
        <p:spPr>
          <a:xfrm>
            <a:off x="4062884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1D400B7-CEC3-557A-7632-6FB72808F581}"/>
              </a:ext>
            </a:extLst>
          </p:cNvPr>
          <p:cNvSpPr/>
          <p:nvPr/>
        </p:nvSpPr>
        <p:spPr>
          <a:xfrm flipV="1">
            <a:off x="0" y="1"/>
            <a:ext cx="5260993" cy="3624299"/>
          </a:xfrm>
          <a:custGeom>
            <a:avLst/>
            <a:gdLst>
              <a:gd name="connsiteX0" fmla="*/ 0 w 5260993"/>
              <a:gd name="connsiteY0" fmla="*/ 3624299 h 3624299"/>
              <a:gd name="connsiteX1" fmla="*/ 5260993 w 5260993"/>
              <a:gd name="connsiteY1" fmla="*/ 3624299 h 3624299"/>
              <a:gd name="connsiteX2" fmla="*/ 5175536 w 5260993"/>
              <a:gd name="connsiteY2" fmla="*/ 3435869 h 3624299"/>
              <a:gd name="connsiteX3" fmla="*/ 2026389 w 5260993"/>
              <a:gd name="connsiteY3" fmla="*/ 0 h 3624299"/>
              <a:gd name="connsiteX4" fmla="*/ 119745 w 5260993"/>
              <a:gd name="connsiteY4" fmla="*/ 1524635 h 3624299"/>
              <a:gd name="connsiteX5" fmla="*/ 0 w 5260993"/>
              <a:gd name="connsiteY5" fmla="*/ 1679332 h 3624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60993" h="3624299">
                <a:moveTo>
                  <a:pt x="0" y="3624299"/>
                </a:moveTo>
                <a:lnTo>
                  <a:pt x="5260993" y="3624299"/>
                </a:lnTo>
                <a:lnTo>
                  <a:pt x="5175536" y="3435869"/>
                </a:lnTo>
                <a:cubicBezTo>
                  <a:pt x="4468341" y="1981042"/>
                  <a:pt x="2825801" y="0"/>
                  <a:pt x="2026389" y="0"/>
                </a:cubicBezTo>
                <a:cubicBezTo>
                  <a:pt x="1560067" y="0"/>
                  <a:pt x="806845" y="674105"/>
                  <a:pt x="119745" y="1524635"/>
                </a:cubicBezTo>
                <a:lnTo>
                  <a:pt x="0" y="1679332"/>
                </a:lnTo>
                <a:close/>
              </a:path>
            </a:pathLst>
          </a:custGeom>
          <a:solidFill>
            <a:srgbClr val="007144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9693FF5-016A-7551-1023-567FA37133D4}"/>
              </a:ext>
            </a:extLst>
          </p:cNvPr>
          <p:cNvSpPr/>
          <p:nvPr/>
        </p:nvSpPr>
        <p:spPr>
          <a:xfrm flipH="1">
            <a:off x="6931007" y="3233700"/>
            <a:ext cx="5260993" cy="3624299"/>
          </a:xfrm>
          <a:custGeom>
            <a:avLst/>
            <a:gdLst>
              <a:gd name="connsiteX0" fmla="*/ 0 w 5260993"/>
              <a:gd name="connsiteY0" fmla="*/ 3624299 h 3624299"/>
              <a:gd name="connsiteX1" fmla="*/ 5260993 w 5260993"/>
              <a:gd name="connsiteY1" fmla="*/ 3624299 h 3624299"/>
              <a:gd name="connsiteX2" fmla="*/ 5175536 w 5260993"/>
              <a:gd name="connsiteY2" fmla="*/ 3435869 h 3624299"/>
              <a:gd name="connsiteX3" fmla="*/ 2026389 w 5260993"/>
              <a:gd name="connsiteY3" fmla="*/ 0 h 3624299"/>
              <a:gd name="connsiteX4" fmla="*/ 119745 w 5260993"/>
              <a:gd name="connsiteY4" fmla="*/ 1524635 h 3624299"/>
              <a:gd name="connsiteX5" fmla="*/ 0 w 5260993"/>
              <a:gd name="connsiteY5" fmla="*/ 1679332 h 3624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60993" h="3624299">
                <a:moveTo>
                  <a:pt x="0" y="3624299"/>
                </a:moveTo>
                <a:lnTo>
                  <a:pt x="5260993" y="3624299"/>
                </a:lnTo>
                <a:lnTo>
                  <a:pt x="5175536" y="3435869"/>
                </a:lnTo>
                <a:cubicBezTo>
                  <a:pt x="4468341" y="1981042"/>
                  <a:pt x="2825801" y="0"/>
                  <a:pt x="2026389" y="0"/>
                </a:cubicBezTo>
                <a:cubicBezTo>
                  <a:pt x="1560067" y="0"/>
                  <a:pt x="806845" y="674105"/>
                  <a:pt x="119745" y="1524635"/>
                </a:cubicBezTo>
                <a:lnTo>
                  <a:pt x="0" y="1679332"/>
                </a:lnTo>
                <a:close/>
              </a:path>
            </a:pathLst>
          </a:custGeom>
          <a:solidFill>
            <a:srgbClr val="A20417"/>
          </a:solidFill>
          <a:ln>
            <a:noFill/>
          </a:ln>
          <a:effectLst>
            <a:outerShdw blurRad="127000" dist="63500" dir="16200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7F22DC2-1FBF-714B-2E8B-3697616F5B27}"/>
              </a:ext>
            </a:extLst>
          </p:cNvPr>
          <p:cNvSpPr/>
          <p:nvPr/>
        </p:nvSpPr>
        <p:spPr>
          <a:xfrm>
            <a:off x="515938" y="6151070"/>
            <a:ext cx="10942637" cy="3678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rgbClr val="00714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rgbClr val="A2041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6F71CC-69B1-A5AD-FD80-ECD77326ECF8}"/>
              </a:ext>
            </a:extLst>
          </p:cNvPr>
          <p:cNvGrpSpPr/>
          <p:nvPr/>
        </p:nvGrpSpPr>
        <p:grpSpPr>
          <a:xfrm rot="1800000">
            <a:off x="11149393" y="6041142"/>
            <a:ext cx="594932" cy="587718"/>
            <a:chOff x="11149393" y="6041142"/>
            <a:chExt cx="594932" cy="587718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B63563A-B4CC-A586-B024-FEFFA915DF36}"/>
                </a:ext>
              </a:extLst>
            </p:cNvPr>
            <p:cNvSpPr/>
            <p:nvPr/>
          </p:nvSpPr>
          <p:spPr>
            <a:xfrm>
              <a:off x="11149393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A20417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5A09AC-0667-3108-0E7C-B35F153E1D51}"/>
                </a:ext>
              </a:extLst>
            </p:cNvPr>
            <p:cNvSpPr/>
            <p:nvPr/>
          </p:nvSpPr>
          <p:spPr>
            <a:xfrm flipH="1">
              <a:off x="11482609" y="6041142"/>
              <a:ext cx="261716" cy="587718"/>
            </a:xfrm>
            <a:custGeom>
              <a:avLst/>
              <a:gdLst>
                <a:gd name="connsiteX0" fmla="*/ 261716 w 261716"/>
                <a:gd name="connsiteY0" fmla="*/ 0 h 587718"/>
                <a:gd name="connsiteX1" fmla="*/ 261716 w 261716"/>
                <a:gd name="connsiteY1" fmla="*/ 587718 h 587718"/>
                <a:gd name="connsiteX2" fmla="*/ 237516 w 261716"/>
                <a:gd name="connsiteY2" fmla="*/ 585279 h 587718"/>
                <a:gd name="connsiteX3" fmla="*/ 0 w 261716"/>
                <a:gd name="connsiteY3" fmla="*/ 293859 h 587718"/>
                <a:gd name="connsiteX4" fmla="*/ 237516 w 261716"/>
                <a:gd name="connsiteY4" fmla="*/ 2440 h 58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716" h="587718">
                  <a:moveTo>
                    <a:pt x="261716" y="0"/>
                  </a:moveTo>
                  <a:lnTo>
                    <a:pt x="261716" y="587718"/>
                  </a:lnTo>
                  <a:lnTo>
                    <a:pt x="237516" y="585279"/>
                  </a:lnTo>
                  <a:cubicBezTo>
                    <a:pt x="101966" y="557541"/>
                    <a:pt x="0" y="437608"/>
                    <a:pt x="0" y="293859"/>
                  </a:cubicBezTo>
                  <a:cubicBezTo>
                    <a:pt x="0" y="150111"/>
                    <a:pt x="101966" y="30177"/>
                    <a:pt x="237516" y="2440"/>
                  </a:cubicBezTo>
                  <a:close/>
                </a:path>
              </a:pathLst>
            </a:custGeom>
            <a:solidFill>
              <a:srgbClr val="007144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F2E8B59D-30F8-40B7-0253-1419CB0E3AAA}"/>
              </a:ext>
            </a:extLst>
          </p:cNvPr>
          <p:cNvSpPr/>
          <p:nvPr/>
        </p:nvSpPr>
        <p:spPr>
          <a:xfrm>
            <a:off x="11238493" y="6126637"/>
            <a:ext cx="416733" cy="4167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29E7BB6E-32ED-BF1F-7033-AC5EA3C3E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8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59E4EC8-3038-6A9B-F4E0-9021D12210C9}"/>
              </a:ext>
            </a:extLst>
          </p:cNvPr>
          <p:cNvCxnSpPr>
            <a:cxnSpLocks/>
          </p:cNvCxnSpPr>
          <p:nvPr/>
        </p:nvCxnSpPr>
        <p:spPr>
          <a:xfrm>
            <a:off x="2133600" y="6335001"/>
            <a:ext cx="8908716" cy="0"/>
          </a:xfrm>
          <a:prstGeom prst="line">
            <a:avLst/>
          </a:prstGeom>
          <a:ln>
            <a:gradFill flip="none" rotWithShape="1">
              <a:gsLst>
                <a:gs pos="0">
                  <a:srgbClr val="007144"/>
                </a:gs>
                <a:gs pos="100000">
                  <a:srgbClr val="A20417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A2952FE-3E7F-6EF8-ACFE-5B64A7889722}"/>
              </a:ext>
            </a:extLst>
          </p:cNvPr>
          <p:cNvSpPr/>
          <p:nvPr/>
        </p:nvSpPr>
        <p:spPr>
          <a:xfrm>
            <a:off x="1736333" y="1482051"/>
            <a:ext cx="9939730" cy="2604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algn="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6F7F9839-CEC4-0A71-3D53-97DDBFA2B3F3}"/>
              </a:ext>
            </a:extLst>
          </p:cNvPr>
          <p:cNvSpPr/>
          <p:nvPr/>
        </p:nvSpPr>
        <p:spPr>
          <a:xfrm rot="5400000">
            <a:off x="6303792" y="-3307161"/>
            <a:ext cx="1202078" cy="9542463"/>
          </a:xfrm>
          <a:prstGeom prst="round2SameRect">
            <a:avLst>
              <a:gd name="adj1" fmla="val 45363"/>
              <a:gd name="adj2" fmla="val 0"/>
            </a:avLst>
          </a:prstGeom>
          <a:gradFill flip="none" rotWithShape="1">
            <a:gsLst>
              <a:gs pos="0">
                <a:srgbClr val="004019"/>
              </a:gs>
              <a:gs pos="100000">
                <a:srgbClr val="00714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426CD0-393C-15A5-395B-47BFF9CBF84D}"/>
              </a:ext>
            </a:extLst>
          </p:cNvPr>
          <p:cNvSpPr txBox="1"/>
          <p:nvPr/>
        </p:nvSpPr>
        <p:spPr>
          <a:xfrm>
            <a:off x="9905081" y="1079351"/>
            <a:ext cx="120411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Pros</a:t>
            </a:r>
            <a:endParaRPr lang="en-ID" sz="4400" b="1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1D4DB2E-AE06-B439-E017-C927C0176435}"/>
              </a:ext>
            </a:extLst>
          </p:cNvPr>
          <p:cNvCxnSpPr>
            <a:cxnSpLocks/>
          </p:cNvCxnSpPr>
          <p:nvPr/>
        </p:nvCxnSpPr>
        <p:spPr>
          <a:xfrm>
            <a:off x="2451100" y="1510301"/>
            <a:ext cx="6959600" cy="0"/>
          </a:xfrm>
          <a:prstGeom prst="line">
            <a:avLst/>
          </a:prstGeom>
          <a:ln>
            <a:solidFill>
              <a:srgbClr val="00B05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icture containing person, posing&#10;&#10;Description automatically generated">
            <a:extLst>
              <a:ext uri="{FF2B5EF4-FFF2-40B4-BE49-F238E27FC236}">
                <a16:creationId xmlns:a16="http://schemas.microsoft.com/office/drawing/2014/main" id="{21DD6724-2E19-D054-3797-DFC9F578A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40042" y="-592663"/>
            <a:ext cx="4860305" cy="687498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E187E24-FE45-DCB6-8D0A-EB32C0B0B1B1}"/>
              </a:ext>
            </a:extLst>
          </p:cNvPr>
          <p:cNvSpPr txBox="1"/>
          <p:nvPr/>
        </p:nvSpPr>
        <p:spPr>
          <a:xfrm>
            <a:off x="3848100" y="2176680"/>
            <a:ext cx="719421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consectetu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dipiscing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ellentes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id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ac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rhonc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atti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ligul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ementu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ect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Integer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consectetu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u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dui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liqu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lla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vitae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qua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leifend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ellentes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u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eli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Suspendiss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ex. Donec ferment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justo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nc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pharetra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leo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apib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variu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ulla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facilisi</a:t>
            </a:r>
            <a:r>
              <a:rPr lang="en-ID" b="0" i="0" dirty="0">
                <a:solidFill>
                  <a:srgbClr val="000000"/>
                </a:solidFill>
                <a:effectLst/>
              </a:rPr>
              <a:t>.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raesen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liqu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equ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era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 ac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placera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sem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attis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a. Na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molestie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convallis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nisl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u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pharetra.</a:t>
            </a:r>
            <a:endParaRPr lang="en-ID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C2C78F9-343F-2886-2859-A2CD7761FC62}"/>
              </a:ext>
            </a:extLst>
          </p:cNvPr>
          <p:cNvGrpSpPr/>
          <p:nvPr/>
        </p:nvGrpSpPr>
        <p:grpSpPr>
          <a:xfrm>
            <a:off x="4793268" y="4216964"/>
            <a:ext cx="839091" cy="839091"/>
            <a:chOff x="9277350" y="-850900"/>
            <a:chExt cx="1243118" cy="124311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D6E5EE0-CB69-BBE6-DAAA-BB2B575AAB53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F0EB927-04EA-6D15-B57A-A86E9ECFECCB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D428E7A-C0B4-B9BE-A43F-9125C8057A6B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23" name="Freeform 30">
                <a:extLst>
                  <a:ext uri="{FF2B5EF4-FFF2-40B4-BE49-F238E27FC236}">
                    <a16:creationId xmlns:a16="http://schemas.microsoft.com/office/drawing/2014/main" id="{AA9E600B-7821-E841-E87F-A139E7913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42A916C6-AE16-6F9E-53CA-A1DED0EBA21F}"/>
              </a:ext>
            </a:extLst>
          </p:cNvPr>
          <p:cNvSpPr/>
          <p:nvPr/>
        </p:nvSpPr>
        <p:spPr>
          <a:xfrm>
            <a:off x="6710046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2FE1FEB-BCD6-B579-218D-D4E14E50BBB6}"/>
              </a:ext>
            </a:extLst>
          </p:cNvPr>
          <p:cNvGrpSpPr/>
          <p:nvPr/>
        </p:nvGrpSpPr>
        <p:grpSpPr>
          <a:xfrm>
            <a:off x="7440430" y="4216964"/>
            <a:ext cx="839091" cy="839091"/>
            <a:chOff x="9277350" y="-850900"/>
            <a:chExt cx="1243118" cy="1243118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E0F3EE7-5C90-EFC8-E7B9-3771480066F2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95E2C19-01BE-F7F9-84EC-727BAE597DAF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884245D-1D80-322B-C7CB-0B64CE3E732F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41" name="Freeform 30">
                <a:extLst>
                  <a:ext uri="{FF2B5EF4-FFF2-40B4-BE49-F238E27FC236}">
                    <a16:creationId xmlns:a16="http://schemas.microsoft.com/office/drawing/2014/main" id="{6A477AEF-6B14-CD58-BDFE-BBD35A256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A80595B7-497E-B304-127F-4E8416FB9AF0}"/>
              </a:ext>
            </a:extLst>
          </p:cNvPr>
          <p:cNvSpPr/>
          <p:nvPr/>
        </p:nvSpPr>
        <p:spPr>
          <a:xfrm>
            <a:off x="9357208" y="4620025"/>
            <a:ext cx="2299858" cy="143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794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0" i="0" dirty="0">
                <a:solidFill>
                  <a:srgbClr val="000000"/>
                </a:solidFill>
                <a:effectLst/>
              </a:rPr>
              <a:t>Lorem ipsum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dolor</a:t>
            </a:r>
            <a:r>
              <a:rPr lang="en-ID" b="0" i="0" dirty="0">
                <a:solidFill>
                  <a:srgbClr val="000000"/>
                </a:solidFill>
                <a:effectLst/>
              </a:rPr>
              <a:t> sit </a:t>
            </a:r>
            <a:r>
              <a:rPr lang="en-ID" b="0" i="0" dirty="0" err="1">
                <a:solidFill>
                  <a:srgbClr val="000000"/>
                </a:solidFill>
                <a:effectLst/>
              </a:rPr>
              <a:t>amet</a:t>
            </a:r>
            <a:r>
              <a:rPr lang="en-ID" b="0" i="0" dirty="0">
                <a:solidFill>
                  <a:srgbClr val="000000"/>
                </a:solidFill>
                <a:effectLst/>
              </a:rPr>
              <a:t>,</a:t>
            </a:r>
            <a:endParaRPr lang="en-ID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D3B1B43-035E-A00C-0B5A-F8F346CD1F67}"/>
              </a:ext>
            </a:extLst>
          </p:cNvPr>
          <p:cNvGrpSpPr/>
          <p:nvPr/>
        </p:nvGrpSpPr>
        <p:grpSpPr>
          <a:xfrm>
            <a:off x="10087592" y="4216964"/>
            <a:ext cx="839091" cy="839091"/>
            <a:chOff x="9277350" y="-850900"/>
            <a:chExt cx="1243118" cy="1243118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0A0CDA6-3844-203B-B3D0-7A1982AABC0F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71EDDFC-4B98-990C-85CD-44720BB1B12C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D66F8DA-ACA3-3220-3CD7-6B952DE7C4A3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47" name="Freeform 30">
                <a:extLst>
                  <a:ext uri="{FF2B5EF4-FFF2-40B4-BE49-F238E27FC236}">
                    <a16:creationId xmlns:a16="http://schemas.microsoft.com/office/drawing/2014/main" id="{AD690AFD-C130-7BFC-4756-9370F2ED3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98212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70952E-7492-ABE6-34BA-0494CCB93565}"/>
              </a:ext>
            </a:extLst>
          </p:cNvPr>
          <p:cNvSpPr/>
          <p:nvPr/>
        </p:nvSpPr>
        <p:spPr>
          <a:xfrm>
            <a:off x="705717" y="652216"/>
            <a:ext cx="5230886" cy="1642106"/>
          </a:xfrm>
          <a:custGeom>
            <a:avLst/>
            <a:gdLst>
              <a:gd name="connsiteX0" fmla="*/ 464716 w 4183448"/>
              <a:gd name="connsiteY0" fmla="*/ 0 h 1313289"/>
              <a:gd name="connsiteX1" fmla="*/ 3718732 w 4183448"/>
              <a:gd name="connsiteY1" fmla="*/ 0 h 1313289"/>
              <a:gd name="connsiteX2" fmla="*/ 4183448 w 4183448"/>
              <a:gd name="connsiteY2" fmla="*/ 464716 h 1313289"/>
              <a:gd name="connsiteX3" fmla="*/ 3812389 w 4183448"/>
              <a:gd name="connsiteY3" fmla="*/ 919991 h 1313289"/>
              <a:gd name="connsiteX4" fmla="*/ 3784323 w 4183448"/>
              <a:gd name="connsiteY4" fmla="*/ 922820 h 1313289"/>
              <a:gd name="connsiteX5" fmla="*/ 3784323 w 4183448"/>
              <a:gd name="connsiteY5" fmla="*/ 1313289 h 1313289"/>
              <a:gd name="connsiteX6" fmla="*/ 3370070 w 4183448"/>
              <a:gd name="connsiteY6" fmla="*/ 929432 h 1313289"/>
              <a:gd name="connsiteX7" fmla="*/ 464716 w 4183448"/>
              <a:gd name="connsiteY7" fmla="*/ 929432 h 1313289"/>
              <a:gd name="connsiteX8" fmla="*/ 0 w 4183448"/>
              <a:gd name="connsiteY8" fmla="*/ 464716 h 1313289"/>
              <a:gd name="connsiteX9" fmla="*/ 464716 w 4183448"/>
              <a:gd name="connsiteY9" fmla="*/ 0 h 1313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83448" h="1313289">
                <a:moveTo>
                  <a:pt x="464716" y="0"/>
                </a:moveTo>
                <a:lnTo>
                  <a:pt x="3718732" y="0"/>
                </a:lnTo>
                <a:cubicBezTo>
                  <a:pt x="3975388" y="0"/>
                  <a:pt x="4183448" y="208060"/>
                  <a:pt x="4183448" y="464716"/>
                </a:cubicBezTo>
                <a:cubicBezTo>
                  <a:pt x="4183448" y="689290"/>
                  <a:pt x="4024152" y="876658"/>
                  <a:pt x="3812389" y="919991"/>
                </a:cubicBezTo>
                <a:lnTo>
                  <a:pt x="3784323" y="922820"/>
                </a:lnTo>
                <a:lnTo>
                  <a:pt x="3784323" y="1313289"/>
                </a:lnTo>
                <a:lnTo>
                  <a:pt x="3370070" y="929432"/>
                </a:lnTo>
                <a:lnTo>
                  <a:pt x="464716" y="929432"/>
                </a:lnTo>
                <a:cubicBezTo>
                  <a:pt x="208060" y="929432"/>
                  <a:pt x="0" y="721372"/>
                  <a:pt x="0" y="464716"/>
                </a:cubicBezTo>
                <a:cubicBezTo>
                  <a:pt x="0" y="208060"/>
                  <a:pt x="208060" y="0"/>
                  <a:pt x="464716" y="0"/>
                </a:cubicBezTo>
                <a:close/>
              </a:path>
            </a:pathLst>
          </a:custGeom>
          <a:gradFill flip="none" rotWithShape="1">
            <a:gsLst>
              <a:gs pos="0">
                <a:srgbClr val="004019"/>
              </a:gs>
              <a:gs pos="100000">
                <a:srgbClr val="00714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0966815-9F5A-CD51-E1AE-9AE544770D2D}"/>
              </a:ext>
            </a:extLst>
          </p:cNvPr>
          <p:cNvSpPr/>
          <p:nvPr/>
        </p:nvSpPr>
        <p:spPr>
          <a:xfrm>
            <a:off x="6095999" y="877981"/>
            <a:ext cx="4979587" cy="1582256"/>
          </a:xfrm>
          <a:custGeom>
            <a:avLst/>
            <a:gdLst>
              <a:gd name="connsiteX0" fmla="*/ 464716 w 4183448"/>
              <a:gd name="connsiteY0" fmla="*/ 0 h 1329284"/>
              <a:gd name="connsiteX1" fmla="*/ 3718732 w 4183448"/>
              <a:gd name="connsiteY1" fmla="*/ 0 h 1329284"/>
              <a:gd name="connsiteX2" fmla="*/ 4183448 w 4183448"/>
              <a:gd name="connsiteY2" fmla="*/ 464716 h 1329284"/>
              <a:gd name="connsiteX3" fmla="*/ 3718732 w 4183448"/>
              <a:gd name="connsiteY3" fmla="*/ 929432 h 1329284"/>
              <a:gd name="connsiteX4" fmla="*/ 858958 w 4183448"/>
              <a:gd name="connsiteY4" fmla="*/ 929432 h 1329284"/>
              <a:gd name="connsiteX5" fmla="*/ 427445 w 4183448"/>
              <a:gd name="connsiteY5" fmla="*/ 1329284 h 1329284"/>
              <a:gd name="connsiteX6" fmla="*/ 427445 w 4183448"/>
              <a:gd name="connsiteY6" fmla="*/ 929432 h 1329284"/>
              <a:gd name="connsiteX7" fmla="*/ 464716 w 4183448"/>
              <a:gd name="connsiteY7" fmla="*/ 929432 h 1329284"/>
              <a:gd name="connsiteX8" fmla="*/ 0 w 4183448"/>
              <a:gd name="connsiteY8" fmla="*/ 464716 h 1329284"/>
              <a:gd name="connsiteX9" fmla="*/ 464716 w 4183448"/>
              <a:gd name="connsiteY9" fmla="*/ 0 h 1329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83448" h="1329284">
                <a:moveTo>
                  <a:pt x="464716" y="0"/>
                </a:moveTo>
                <a:lnTo>
                  <a:pt x="3718732" y="0"/>
                </a:lnTo>
                <a:cubicBezTo>
                  <a:pt x="3975388" y="0"/>
                  <a:pt x="4183448" y="208060"/>
                  <a:pt x="4183448" y="464716"/>
                </a:cubicBezTo>
                <a:cubicBezTo>
                  <a:pt x="4183448" y="721372"/>
                  <a:pt x="3975388" y="929432"/>
                  <a:pt x="3718732" y="929432"/>
                </a:cubicBezTo>
                <a:lnTo>
                  <a:pt x="858958" y="929432"/>
                </a:lnTo>
                <a:lnTo>
                  <a:pt x="427445" y="1329284"/>
                </a:lnTo>
                <a:lnTo>
                  <a:pt x="427445" y="929432"/>
                </a:lnTo>
                <a:lnTo>
                  <a:pt x="464716" y="929432"/>
                </a:lnTo>
                <a:cubicBezTo>
                  <a:pt x="208060" y="929432"/>
                  <a:pt x="0" y="721372"/>
                  <a:pt x="0" y="464716"/>
                </a:cubicBezTo>
                <a:cubicBezTo>
                  <a:pt x="0" y="208060"/>
                  <a:pt x="208060" y="0"/>
                  <a:pt x="464716" y="0"/>
                </a:cubicBezTo>
                <a:close/>
              </a:path>
            </a:pathLst>
          </a:custGeom>
          <a:gradFill>
            <a:gsLst>
              <a:gs pos="0">
                <a:srgbClr val="4D0001"/>
              </a:gs>
              <a:gs pos="100000">
                <a:srgbClr val="A2041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57" name="Picture 56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7A8DFFE7-F113-A90D-285B-90B966A21A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6636" y="873604"/>
            <a:ext cx="4988950" cy="1585231"/>
          </a:xfrm>
          <a:custGeom>
            <a:avLst/>
            <a:gdLst>
              <a:gd name="connsiteX0" fmla="*/ 449885 w 4049937"/>
              <a:gd name="connsiteY0" fmla="*/ 0 h 1286861"/>
              <a:gd name="connsiteX1" fmla="*/ 3600052 w 4049937"/>
              <a:gd name="connsiteY1" fmla="*/ 0 h 1286861"/>
              <a:gd name="connsiteX2" fmla="*/ 4049937 w 4049937"/>
              <a:gd name="connsiteY2" fmla="*/ 449885 h 1286861"/>
              <a:gd name="connsiteX3" fmla="*/ 3600052 w 4049937"/>
              <a:gd name="connsiteY3" fmla="*/ 899770 h 1286861"/>
              <a:gd name="connsiteX4" fmla="*/ 831545 w 4049937"/>
              <a:gd name="connsiteY4" fmla="*/ 899770 h 1286861"/>
              <a:gd name="connsiteX5" fmla="*/ 413804 w 4049937"/>
              <a:gd name="connsiteY5" fmla="*/ 1286861 h 1286861"/>
              <a:gd name="connsiteX6" fmla="*/ 413804 w 4049937"/>
              <a:gd name="connsiteY6" fmla="*/ 899770 h 1286861"/>
              <a:gd name="connsiteX7" fmla="*/ 449885 w 4049937"/>
              <a:gd name="connsiteY7" fmla="*/ 899770 h 1286861"/>
              <a:gd name="connsiteX8" fmla="*/ 0 w 4049937"/>
              <a:gd name="connsiteY8" fmla="*/ 449885 h 1286861"/>
              <a:gd name="connsiteX9" fmla="*/ 449885 w 4049937"/>
              <a:gd name="connsiteY9" fmla="*/ 0 h 128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49937" h="1286861">
                <a:moveTo>
                  <a:pt x="449885" y="0"/>
                </a:moveTo>
                <a:lnTo>
                  <a:pt x="3600052" y="0"/>
                </a:lnTo>
                <a:cubicBezTo>
                  <a:pt x="3848517" y="0"/>
                  <a:pt x="4049937" y="201420"/>
                  <a:pt x="4049937" y="449885"/>
                </a:cubicBezTo>
                <a:cubicBezTo>
                  <a:pt x="4049937" y="698350"/>
                  <a:pt x="3848517" y="899770"/>
                  <a:pt x="3600052" y="899770"/>
                </a:cubicBezTo>
                <a:lnTo>
                  <a:pt x="831545" y="899770"/>
                </a:lnTo>
                <a:lnTo>
                  <a:pt x="413804" y="1286861"/>
                </a:lnTo>
                <a:lnTo>
                  <a:pt x="413804" y="899770"/>
                </a:lnTo>
                <a:lnTo>
                  <a:pt x="449885" y="899770"/>
                </a:lnTo>
                <a:cubicBezTo>
                  <a:pt x="201420" y="899770"/>
                  <a:pt x="0" y="698350"/>
                  <a:pt x="0" y="449885"/>
                </a:cubicBezTo>
                <a:cubicBezTo>
                  <a:pt x="0" y="201420"/>
                  <a:pt x="201420" y="0"/>
                  <a:pt x="449885" y="0"/>
                </a:cubicBezTo>
                <a:close/>
              </a:path>
            </a:pathLst>
          </a:custGeom>
        </p:spPr>
      </p:pic>
      <p:pic>
        <p:nvPicPr>
          <p:cNvPr id="56" name="Picture 55" descr="A person giving a thumbs up&#10;&#10;Description automatically generated with medium confidence">
            <a:extLst>
              <a:ext uri="{FF2B5EF4-FFF2-40B4-BE49-F238E27FC236}">
                <a16:creationId xmlns:a16="http://schemas.microsoft.com/office/drawing/2014/main" id="{CFA445F1-9640-CCC8-886F-72F85AE18A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717" y="652215"/>
            <a:ext cx="5230882" cy="1642105"/>
          </a:xfrm>
          <a:custGeom>
            <a:avLst/>
            <a:gdLst>
              <a:gd name="connsiteX0" fmla="*/ 472589 w 4254318"/>
              <a:gd name="connsiteY0" fmla="*/ 0 h 1335537"/>
              <a:gd name="connsiteX1" fmla="*/ 3781731 w 4254318"/>
              <a:gd name="connsiteY1" fmla="*/ 0 h 1335537"/>
              <a:gd name="connsiteX2" fmla="*/ 4244719 w 4254318"/>
              <a:gd name="connsiteY2" fmla="*/ 377346 h 1335537"/>
              <a:gd name="connsiteX3" fmla="*/ 4254318 w 4254318"/>
              <a:gd name="connsiteY3" fmla="*/ 472569 h 1335537"/>
              <a:gd name="connsiteX4" fmla="*/ 4254318 w 4254318"/>
              <a:gd name="connsiteY4" fmla="*/ 472612 h 1335537"/>
              <a:gd name="connsiteX5" fmla="*/ 4246939 w 4254318"/>
              <a:gd name="connsiteY5" fmla="*/ 556245 h 1335537"/>
              <a:gd name="connsiteX6" fmla="*/ 3876975 w 4254318"/>
              <a:gd name="connsiteY6" fmla="*/ 935576 h 1335537"/>
              <a:gd name="connsiteX7" fmla="*/ 3848434 w 4254318"/>
              <a:gd name="connsiteY7" fmla="*/ 938453 h 1335537"/>
              <a:gd name="connsiteX8" fmla="*/ 3848434 w 4254318"/>
              <a:gd name="connsiteY8" fmla="*/ 1335537 h 1335537"/>
              <a:gd name="connsiteX9" fmla="*/ 3427163 w 4254318"/>
              <a:gd name="connsiteY9" fmla="*/ 945177 h 1335537"/>
              <a:gd name="connsiteX10" fmla="*/ 472589 w 4254318"/>
              <a:gd name="connsiteY10" fmla="*/ 945177 h 1335537"/>
              <a:gd name="connsiteX11" fmla="*/ 0 w 4254318"/>
              <a:gd name="connsiteY11" fmla="*/ 472589 h 1335537"/>
              <a:gd name="connsiteX12" fmla="*/ 472589 w 4254318"/>
              <a:gd name="connsiteY12" fmla="*/ 0 h 1335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254318" h="1335537">
                <a:moveTo>
                  <a:pt x="472589" y="0"/>
                </a:moveTo>
                <a:lnTo>
                  <a:pt x="3781731" y="0"/>
                </a:lnTo>
                <a:cubicBezTo>
                  <a:pt x="4010110" y="0"/>
                  <a:pt x="4200652" y="161995"/>
                  <a:pt x="4244719" y="377346"/>
                </a:cubicBezTo>
                <a:lnTo>
                  <a:pt x="4254318" y="472569"/>
                </a:lnTo>
                <a:lnTo>
                  <a:pt x="4254318" y="472612"/>
                </a:lnTo>
                <a:lnTo>
                  <a:pt x="4246939" y="556245"/>
                </a:lnTo>
                <a:cubicBezTo>
                  <a:pt x="4212988" y="746314"/>
                  <a:pt x="4065407" y="897018"/>
                  <a:pt x="3876975" y="935576"/>
                </a:cubicBezTo>
                <a:lnTo>
                  <a:pt x="3848434" y="938453"/>
                </a:lnTo>
                <a:lnTo>
                  <a:pt x="3848434" y="1335537"/>
                </a:lnTo>
                <a:lnTo>
                  <a:pt x="3427163" y="945177"/>
                </a:lnTo>
                <a:lnTo>
                  <a:pt x="472589" y="945177"/>
                </a:lnTo>
                <a:cubicBezTo>
                  <a:pt x="211585" y="945177"/>
                  <a:pt x="0" y="733593"/>
                  <a:pt x="0" y="472589"/>
                </a:cubicBezTo>
                <a:cubicBezTo>
                  <a:pt x="0" y="211585"/>
                  <a:pt x="211585" y="0"/>
                  <a:pt x="472589" y="0"/>
                </a:cubicBezTo>
                <a:close/>
              </a:path>
            </a:pathLst>
          </a:custGeom>
        </p:spPr>
      </p:pic>
      <p:sp>
        <p:nvSpPr>
          <p:cNvPr id="276" name="Slide Number Placeholder 3">
            <a:extLst>
              <a:ext uri="{FF2B5EF4-FFF2-40B4-BE49-F238E27FC236}">
                <a16:creationId xmlns:a16="http://schemas.microsoft.com/office/drawing/2014/main" id="{37DD1206-012B-B305-A850-41FAFA5A9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8018" y="6126638"/>
            <a:ext cx="416734" cy="392294"/>
          </a:xfrm>
        </p:spPr>
        <p:txBody>
          <a:bodyPr lIns="0" tIns="0" rIns="0" bIns="0"/>
          <a:lstStyle/>
          <a:p>
            <a:pPr algn="ctr"/>
            <a:fld id="{7C251EBB-C49B-430B-9DFD-4FF705AB1731}" type="slidenum">
              <a:rPr lang="en-US" sz="12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9</a:t>
            </a:fld>
            <a:endParaRPr lang="en-US" sz="12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1BAC0B9A-761B-BC47-B681-5CE6CA6CE48D}"/>
              </a:ext>
            </a:extLst>
          </p:cNvPr>
          <p:cNvSpPr/>
          <p:nvPr/>
        </p:nvSpPr>
        <p:spPr>
          <a:xfrm>
            <a:off x="6884662" y="5040228"/>
            <a:ext cx="4770090" cy="935671"/>
          </a:xfrm>
          <a:prstGeom prst="homePlate">
            <a:avLst>
              <a:gd name="adj" fmla="val 44510"/>
            </a:avLst>
          </a:prstGeom>
          <a:gradFill>
            <a:gsLst>
              <a:gs pos="0">
                <a:srgbClr val="4D0001"/>
              </a:gs>
              <a:gs pos="100000">
                <a:srgbClr val="A2041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567CBE-F840-35D7-90C0-05969664E1EE}"/>
              </a:ext>
            </a:extLst>
          </p:cNvPr>
          <p:cNvGrpSpPr/>
          <p:nvPr/>
        </p:nvGrpSpPr>
        <p:grpSpPr>
          <a:xfrm>
            <a:off x="940561" y="2243640"/>
            <a:ext cx="4049937" cy="2542738"/>
            <a:chOff x="940561" y="1812131"/>
            <a:chExt cx="4049937" cy="2542738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404637D-7E34-AC96-5DD6-CCE67360F767}"/>
                </a:ext>
              </a:extLst>
            </p:cNvPr>
            <p:cNvSpPr/>
            <p:nvPr/>
          </p:nvSpPr>
          <p:spPr>
            <a:xfrm>
              <a:off x="940561" y="1812131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ctr"/>
              <a:r>
                <a:rPr lang="en-ID" sz="1400" b="0" i="0" dirty="0">
                  <a:solidFill>
                    <a:srgbClr val="000000"/>
                  </a:solidFill>
                  <a:effectLst/>
                  <a:latin typeface="Open Sans" pitchFamily="2" charset="0"/>
                </a:rPr>
                <a:t>Lorem ipsum </a:t>
              </a:r>
              <a:r>
                <a:rPr lang="en-ID" sz="1400" b="0" i="0" dirty="0" err="1">
                  <a:solidFill>
                    <a:srgbClr val="000000"/>
                  </a:solidFill>
                  <a:effectLst/>
                  <a:latin typeface="Open Sans" pitchFamily="2" charset="0"/>
                </a:rPr>
                <a:t>dolor</a:t>
              </a:r>
              <a:r>
                <a:rPr lang="en-ID" sz="1400" b="0" i="0" dirty="0">
                  <a:solidFill>
                    <a:srgbClr val="000000"/>
                  </a:solidFill>
                  <a:effectLst/>
                  <a:latin typeface="Open Sans" pitchFamily="2" charset="0"/>
                </a:rPr>
                <a:t> sit </a:t>
              </a:r>
              <a:r>
                <a:rPr lang="en-ID" sz="1400" b="0" i="0" dirty="0" err="1">
                  <a:solidFill>
                    <a:srgbClr val="000000"/>
                  </a:solidFill>
                  <a:effectLst/>
                  <a:latin typeface="Open Sans" pitchFamily="2" charset="0"/>
                </a:rPr>
                <a:t>amet</a:t>
              </a:r>
              <a:endParaRPr lang="en-ID" sz="1400" dirty="0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EF5A5D0-51C1-EF87-1892-39F8C76D3BF5}"/>
                </a:ext>
              </a:extLst>
            </p:cNvPr>
            <p:cNvSpPr/>
            <p:nvPr/>
          </p:nvSpPr>
          <p:spPr>
            <a:xfrm>
              <a:off x="940561" y="2713630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ctr"/>
              <a:r>
                <a:rPr lang="en-ID" sz="1400" b="0" i="0" dirty="0">
                  <a:solidFill>
                    <a:srgbClr val="000000"/>
                  </a:solidFill>
                  <a:effectLst/>
                  <a:latin typeface="Open Sans" pitchFamily="2" charset="0"/>
                </a:rPr>
                <a:t>Lorem ipsum </a:t>
              </a:r>
              <a:r>
                <a:rPr lang="en-ID" sz="1400" b="0" i="0" dirty="0" err="1">
                  <a:solidFill>
                    <a:srgbClr val="000000"/>
                  </a:solidFill>
                  <a:effectLst/>
                  <a:latin typeface="Open Sans" pitchFamily="2" charset="0"/>
                </a:rPr>
                <a:t>dolor</a:t>
              </a:r>
              <a:r>
                <a:rPr lang="en-ID" sz="1400" b="0" i="0" dirty="0">
                  <a:solidFill>
                    <a:srgbClr val="000000"/>
                  </a:solidFill>
                  <a:effectLst/>
                  <a:latin typeface="Open Sans" pitchFamily="2" charset="0"/>
                </a:rPr>
                <a:t> sit </a:t>
              </a:r>
              <a:r>
                <a:rPr lang="en-ID" sz="1400" b="0" i="0" dirty="0" err="1">
                  <a:solidFill>
                    <a:srgbClr val="000000"/>
                  </a:solidFill>
                  <a:effectLst/>
                  <a:latin typeface="Open Sans" pitchFamily="2" charset="0"/>
                </a:rPr>
                <a:t>amet</a:t>
              </a:r>
              <a:endParaRPr lang="en-ID" sz="1400" dirty="0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48A1EE57-6118-BA4A-56F0-587A2F331E1F}"/>
                </a:ext>
              </a:extLst>
            </p:cNvPr>
            <p:cNvSpPr/>
            <p:nvPr/>
          </p:nvSpPr>
          <p:spPr>
            <a:xfrm>
              <a:off x="940561" y="3615129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algn="ctr"/>
              <a:r>
                <a:rPr lang="da-DK" sz="1400" b="0" i="0" dirty="0">
                  <a:solidFill>
                    <a:srgbClr val="000000"/>
                  </a:solidFill>
                  <a:effectLst/>
                  <a:latin typeface="Open Sans" pitchFamily="2" charset="0"/>
                </a:rPr>
                <a:t>Lorem ipsum dolor sit amet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4F6D19-8A8F-6D8A-1F19-A278BDD49492}"/>
              </a:ext>
            </a:extLst>
          </p:cNvPr>
          <p:cNvGrpSpPr/>
          <p:nvPr/>
        </p:nvGrpSpPr>
        <p:grpSpPr>
          <a:xfrm>
            <a:off x="7204565" y="2243640"/>
            <a:ext cx="4049937" cy="2542738"/>
            <a:chOff x="7204565" y="2322318"/>
            <a:chExt cx="4049937" cy="2542738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2D105D2-27CE-FB7F-6920-79EF06052026}"/>
                </a:ext>
              </a:extLst>
            </p:cNvPr>
            <p:cNvSpPr/>
            <p:nvPr/>
          </p:nvSpPr>
          <p:spPr>
            <a:xfrm>
              <a:off x="7204565" y="2322318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Lorem ipsum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dolor</a:t>
              </a: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 sit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amet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FEDF0D9-EC37-03B1-5933-334DDBEAC98D}"/>
                </a:ext>
              </a:extLst>
            </p:cNvPr>
            <p:cNvSpPr/>
            <p:nvPr/>
          </p:nvSpPr>
          <p:spPr>
            <a:xfrm>
              <a:off x="7204565" y="3223817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Lorem ipsum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dolor</a:t>
              </a: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 sit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amet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FDCF4FD-1CA0-4AA2-18BC-A23CC40BC299}"/>
                </a:ext>
              </a:extLst>
            </p:cNvPr>
            <p:cNvSpPr/>
            <p:nvPr/>
          </p:nvSpPr>
          <p:spPr>
            <a:xfrm>
              <a:off x="7204565" y="4125316"/>
              <a:ext cx="4049937" cy="73974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dist="38100" algn="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21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Lorem ipsum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dolor</a:t>
              </a:r>
              <a:r>
                <a:rPr kumimoji="0" lang="en-ID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 sit </a:t>
              </a:r>
              <a:r>
                <a:rPr kumimoji="0" lang="en-ID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itchFamily="2" charset="0"/>
                  <a:ea typeface="+mn-ea"/>
                  <a:cs typeface="+mn-cs"/>
                </a:rPr>
                <a:t>amet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EB12B9B-5D39-6F74-CE18-F38CC20C9A0E}"/>
              </a:ext>
            </a:extLst>
          </p:cNvPr>
          <p:cNvSpPr txBox="1"/>
          <p:nvPr/>
        </p:nvSpPr>
        <p:spPr>
          <a:xfrm>
            <a:off x="2811854" y="900217"/>
            <a:ext cx="11366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Pros</a:t>
            </a:r>
            <a:endParaRPr lang="en-ID" sz="3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AB97AE3-E5F3-5C90-058C-E63F05B1FC67}"/>
              </a:ext>
            </a:extLst>
          </p:cNvPr>
          <p:cNvSpPr txBox="1"/>
          <p:nvPr/>
        </p:nvSpPr>
        <p:spPr>
          <a:xfrm>
            <a:off x="8134146" y="1074166"/>
            <a:ext cx="12378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Cons</a:t>
            </a:r>
            <a:endParaRPr lang="en-ID" sz="3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0BF4072E-E091-7774-7649-4E06E96EBBDF}"/>
              </a:ext>
            </a:extLst>
          </p:cNvPr>
          <p:cNvSpPr/>
          <p:nvPr/>
        </p:nvSpPr>
        <p:spPr>
          <a:xfrm rot="10800000">
            <a:off x="515938" y="5040227"/>
            <a:ext cx="4791401" cy="935671"/>
          </a:xfrm>
          <a:prstGeom prst="homePlate">
            <a:avLst>
              <a:gd name="adj" fmla="val 44510"/>
            </a:avLst>
          </a:prstGeom>
          <a:gradFill>
            <a:gsLst>
              <a:gs pos="0">
                <a:srgbClr val="004019"/>
              </a:gs>
              <a:gs pos="100000">
                <a:srgbClr val="007144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12E9C2B7-EC37-DDB1-34ED-9B62DAFAA73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906" y="717726"/>
            <a:ext cx="4386286" cy="620447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0D49CF8-39BF-ADC2-2E19-F0380165C3CC}"/>
              </a:ext>
            </a:extLst>
          </p:cNvPr>
          <p:cNvSpPr txBox="1"/>
          <p:nvPr/>
        </p:nvSpPr>
        <p:spPr>
          <a:xfrm>
            <a:off x="878917" y="5246453"/>
            <a:ext cx="3181977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  <a:endParaRPr lang="en-ID" sz="14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A60255-A55A-29C6-2F21-C162556344E0}"/>
              </a:ext>
            </a:extLst>
          </p:cNvPr>
          <p:cNvSpPr txBox="1"/>
          <p:nvPr/>
        </p:nvSpPr>
        <p:spPr>
          <a:xfrm>
            <a:off x="8159187" y="5246453"/>
            <a:ext cx="3181977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  <a:endParaRPr lang="en-ID" sz="1400" dirty="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A14B97-D8D4-1280-5122-A4C349CD6627}"/>
              </a:ext>
            </a:extLst>
          </p:cNvPr>
          <p:cNvGrpSpPr/>
          <p:nvPr/>
        </p:nvGrpSpPr>
        <p:grpSpPr>
          <a:xfrm>
            <a:off x="517952" y="2160620"/>
            <a:ext cx="839091" cy="839091"/>
            <a:chOff x="9277350" y="-850900"/>
            <a:chExt cx="1243118" cy="124311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217D59E-7020-31C0-2C6A-48D9CAA96521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FF2314F-2F14-FED4-7353-5C6CB50EB32C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A219C294-593A-C45C-1E3B-E07C3D842394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26" name="Freeform 30">
                <a:extLst>
                  <a:ext uri="{FF2B5EF4-FFF2-40B4-BE49-F238E27FC236}">
                    <a16:creationId xmlns:a16="http://schemas.microsoft.com/office/drawing/2014/main" id="{9D82AB54-ECBD-4FFF-255A-BEE9E62AB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72E2117-2BD3-8C8E-9176-6B48C472966E}"/>
              </a:ext>
            </a:extLst>
          </p:cNvPr>
          <p:cNvGrpSpPr/>
          <p:nvPr/>
        </p:nvGrpSpPr>
        <p:grpSpPr>
          <a:xfrm>
            <a:off x="517952" y="3082764"/>
            <a:ext cx="839091" cy="839091"/>
            <a:chOff x="9277350" y="-850900"/>
            <a:chExt cx="1243118" cy="124311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B1907A3-265B-3FA1-51D2-CCDF49BD3DEC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A9FC83A-3127-8AA7-24F2-A6B3D7BF7FDB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9D3E4F3-16FC-CA3D-57BE-27C80F02A45A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92C6E40-9128-476D-B126-D65097C1B0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030DCA6-AEC5-9ED6-3D8F-03032C97E764}"/>
              </a:ext>
            </a:extLst>
          </p:cNvPr>
          <p:cNvGrpSpPr/>
          <p:nvPr/>
        </p:nvGrpSpPr>
        <p:grpSpPr>
          <a:xfrm>
            <a:off x="517952" y="4004908"/>
            <a:ext cx="839091" cy="839091"/>
            <a:chOff x="9277350" y="-850900"/>
            <a:chExt cx="1243118" cy="124311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9B41210-CFED-1E81-F40F-19A52F49E467}"/>
                </a:ext>
              </a:extLst>
            </p:cNvPr>
            <p:cNvSpPr/>
            <p:nvPr/>
          </p:nvSpPr>
          <p:spPr>
            <a:xfrm>
              <a:off x="9277350" y="-850900"/>
              <a:ext cx="1243118" cy="1243118"/>
            </a:xfrm>
            <a:prstGeom prst="ellipse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D94FA72-373A-4F55-51B9-1489376948E7}"/>
                </a:ext>
              </a:extLst>
            </p:cNvPr>
            <p:cNvGrpSpPr/>
            <p:nvPr/>
          </p:nvGrpSpPr>
          <p:grpSpPr>
            <a:xfrm>
              <a:off x="9499624" y="-628626"/>
              <a:ext cx="798571" cy="798571"/>
              <a:chOff x="8559800" y="-698500"/>
              <a:chExt cx="558800" cy="55880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10CF4FB-6BD1-6D92-A14B-84BAC6F69C76}"/>
                  </a:ext>
                </a:extLst>
              </p:cNvPr>
              <p:cNvSpPr/>
              <p:nvPr/>
            </p:nvSpPr>
            <p:spPr>
              <a:xfrm>
                <a:off x="8559800" y="-698500"/>
                <a:ext cx="558800" cy="558800"/>
              </a:xfrm>
              <a:prstGeom prst="ellipse">
                <a:avLst/>
              </a:prstGeom>
              <a:solidFill>
                <a:srgbClr val="0071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36" name="Freeform 30">
                <a:extLst>
                  <a:ext uri="{FF2B5EF4-FFF2-40B4-BE49-F238E27FC236}">
                    <a16:creationId xmlns:a16="http://schemas.microsoft.com/office/drawing/2014/main" id="{504B0E8C-D172-10A3-924E-BB52F6B8A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6162" y="-567532"/>
                <a:ext cx="346075" cy="296863"/>
              </a:xfrm>
              <a:custGeom>
                <a:avLst/>
                <a:gdLst>
                  <a:gd name="T0" fmla="*/ 185 w 218"/>
                  <a:gd name="T1" fmla="*/ 0 h 187"/>
                  <a:gd name="T2" fmla="*/ 66 w 218"/>
                  <a:gd name="T3" fmla="*/ 120 h 187"/>
                  <a:gd name="T4" fmla="*/ 33 w 218"/>
                  <a:gd name="T5" fmla="*/ 86 h 187"/>
                  <a:gd name="T6" fmla="*/ 0 w 218"/>
                  <a:gd name="T7" fmla="*/ 120 h 187"/>
                  <a:gd name="T8" fmla="*/ 66 w 218"/>
                  <a:gd name="T9" fmla="*/ 187 h 187"/>
                  <a:gd name="T10" fmla="*/ 218 w 218"/>
                  <a:gd name="T11" fmla="*/ 34 h 187"/>
                  <a:gd name="T12" fmla="*/ 185 w 218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187">
                    <a:moveTo>
                      <a:pt x="185" y="0"/>
                    </a:moveTo>
                    <a:lnTo>
                      <a:pt x="66" y="120"/>
                    </a:lnTo>
                    <a:lnTo>
                      <a:pt x="33" y="86"/>
                    </a:lnTo>
                    <a:lnTo>
                      <a:pt x="0" y="120"/>
                    </a:lnTo>
                    <a:lnTo>
                      <a:pt x="66" y="187"/>
                    </a:lnTo>
                    <a:lnTo>
                      <a:pt x="218" y="34"/>
                    </a:lnTo>
                    <a:lnTo>
                      <a:pt x="185" y="0"/>
                    </a:ln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A6BB5D8-ADC9-9468-2F6D-4F5FD2778B03}"/>
              </a:ext>
            </a:extLst>
          </p:cNvPr>
          <p:cNvGrpSpPr/>
          <p:nvPr/>
        </p:nvGrpSpPr>
        <p:grpSpPr>
          <a:xfrm>
            <a:off x="4985717" y="845347"/>
            <a:ext cx="739740" cy="739740"/>
            <a:chOff x="4276786" y="1375502"/>
            <a:chExt cx="474283" cy="474283"/>
          </a:xfrm>
          <a:effectLst>
            <a:outerShdw blurRad="152400" dist="38100" algn="l" rotWithShape="0">
              <a:prstClr val="black">
                <a:alpha val="38000"/>
              </a:prstClr>
            </a:outerShdw>
          </a:effectLst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9422C65-5232-DC2B-8172-608BCC94940C}"/>
                </a:ext>
              </a:extLst>
            </p:cNvPr>
            <p:cNvSpPr/>
            <p:nvPr/>
          </p:nvSpPr>
          <p:spPr>
            <a:xfrm>
              <a:off x="4276786" y="1375502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79F1DB5-32F5-6066-7E19-8B601CF53D26}"/>
                </a:ext>
              </a:extLst>
            </p:cNvPr>
            <p:cNvGrpSpPr/>
            <p:nvPr/>
          </p:nvGrpSpPr>
          <p:grpSpPr>
            <a:xfrm>
              <a:off x="4370921" y="1480133"/>
              <a:ext cx="286013" cy="265021"/>
              <a:chOff x="2982913" y="6350"/>
              <a:chExt cx="346075" cy="320675"/>
            </a:xfrm>
          </p:grpSpPr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ABC9ED34-CA76-122D-998C-62EEC30A3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Rectangle 81">
                <a:extLst>
                  <a:ext uri="{FF2B5EF4-FFF2-40B4-BE49-F238E27FC236}">
                    <a16:creationId xmlns:a16="http://schemas.microsoft.com/office/drawing/2014/main" id="{3DA85F2B-58D6-B435-8796-0B17C43189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00714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Oval 82">
                <a:extLst>
                  <a:ext uri="{FF2B5EF4-FFF2-40B4-BE49-F238E27FC236}">
                    <a16:creationId xmlns:a16="http://schemas.microsoft.com/office/drawing/2014/main" id="{CE1285BB-81E6-EA9F-86D0-8D019DEFD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00714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26CD692-DD42-BCD0-6F01-5AE168B47EC0}"/>
              </a:ext>
            </a:extLst>
          </p:cNvPr>
          <p:cNvGrpSpPr/>
          <p:nvPr/>
        </p:nvGrpSpPr>
        <p:grpSpPr>
          <a:xfrm>
            <a:off x="6291402" y="1052024"/>
            <a:ext cx="739740" cy="739740"/>
            <a:chOff x="7393577" y="1019186"/>
            <a:chExt cx="474283" cy="474283"/>
          </a:xfrm>
          <a:effectLst>
            <a:outerShdw blurRad="152400" dist="38100" algn="l" rotWithShape="0">
              <a:prstClr val="black">
                <a:alpha val="38000"/>
              </a:prstClr>
            </a:outerShdw>
          </a:effectLst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2BA90A9A-814F-77E2-0535-82424DF016CD}"/>
                </a:ext>
              </a:extLst>
            </p:cNvPr>
            <p:cNvSpPr/>
            <p:nvPr/>
          </p:nvSpPr>
          <p:spPr>
            <a:xfrm>
              <a:off x="7393577" y="1019186"/>
              <a:ext cx="474283" cy="47428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AD6C017-A7EF-FBF7-3191-ACF91A9B349C}"/>
                </a:ext>
              </a:extLst>
            </p:cNvPr>
            <p:cNvGrpSpPr/>
            <p:nvPr/>
          </p:nvGrpSpPr>
          <p:grpSpPr>
            <a:xfrm flipV="1">
              <a:off x="7487712" y="1123817"/>
              <a:ext cx="286013" cy="265021"/>
              <a:chOff x="2982913" y="6350"/>
              <a:chExt cx="346075" cy="320675"/>
            </a:xfrm>
          </p:grpSpPr>
          <p:sp>
            <p:nvSpPr>
              <p:cNvPr id="67" name="Freeform 80">
                <a:extLst>
                  <a:ext uri="{FF2B5EF4-FFF2-40B4-BE49-F238E27FC236}">
                    <a16:creationId xmlns:a16="http://schemas.microsoft.com/office/drawing/2014/main" id="{12F0C986-363D-03AD-1883-563DBCAD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6350"/>
                <a:ext cx="269875" cy="304800"/>
              </a:xfrm>
              <a:custGeom>
                <a:avLst/>
                <a:gdLst>
                  <a:gd name="T0" fmla="*/ 58 w 72"/>
                  <a:gd name="T1" fmla="*/ 59 h 81"/>
                  <a:gd name="T2" fmla="*/ 58 w 72"/>
                  <a:gd name="T3" fmla="*/ 59 h 81"/>
                  <a:gd name="T4" fmla="*/ 64 w 72"/>
                  <a:gd name="T5" fmla="*/ 65 h 81"/>
                  <a:gd name="T6" fmla="*/ 58 w 72"/>
                  <a:gd name="T7" fmla="*/ 71 h 81"/>
                  <a:gd name="T8" fmla="*/ 54 w 72"/>
                  <a:gd name="T9" fmla="*/ 71 h 81"/>
                  <a:gd name="T10" fmla="*/ 60 w 72"/>
                  <a:gd name="T11" fmla="*/ 77 h 81"/>
                  <a:gd name="T12" fmla="*/ 54 w 72"/>
                  <a:gd name="T13" fmla="*/ 81 h 81"/>
                  <a:gd name="T14" fmla="*/ 28 w 72"/>
                  <a:gd name="T15" fmla="*/ 81 h 81"/>
                  <a:gd name="T16" fmla="*/ 0 w 72"/>
                  <a:gd name="T17" fmla="*/ 77 h 81"/>
                  <a:gd name="T18" fmla="*/ 0 w 72"/>
                  <a:gd name="T19" fmla="*/ 43 h 81"/>
                  <a:gd name="T20" fmla="*/ 26 w 72"/>
                  <a:gd name="T21" fmla="*/ 9 h 81"/>
                  <a:gd name="T22" fmla="*/ 38 w 72"/>
                  <a:gd name="T23" fmla="*/ 12 h 81"/>
                  <a:gd name="T24" fmla="*/ 34 w 72"/>
                  <a:gd name="T25" fmla="*/ 33 h 81"/>
                  <a:gd name="T26" fmla="*/ 66 w 72"/>
                  <a:gd name="T27" fmla="*/ 33 h 81"/>
                  <a:gd name="T28" fmla="*/ 72 w 72"/>
                  <a:gd name="T29" fmla="*/ 39 h 81"/>
                  <a:gd name="T30" fmla="*/ 66 w 72"/>
                  <a:gd name="T31" fmla="*/ 47 h 81"/>
                  <a:gd name="T32" fmla="*/ 62 w 72"/>
                  <a:gd name="T33" fmla="*/ 47 h 81"/>
                  <a:gd name="T34" fmla="*/ 68 w 72"/>
                  <a:gd name="T35" fmla="*/ 53 h 81"/>
                  <a:gd name="T36" fmla="*/ 62 w 72"/>
                  <a:gd name="T37" fmla="*/ 59 h 81"/>
                  <a:gd name="T38" fmla="*/ 58 w 72"/>
                  <a:gd name="T39" fmla="*/ 5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" h="81">
                    <a:moveTo>
                      <a:pt x="58" y="59"/>
                    </a:moveTo>
                    <a:cubicBezTo>
                      <a:pt x="58" y="59"/>
                      <a:pt x="58" y="59"/>
                      <a:pt x="58" y="59"/>
                    </a:cubicBezTo>
                    <a:cubicBezTo>
                      <a:pt x="61" y="59"/>
                      <a:pt x="64" y="62"/>
                      <a:pt x="64" y="65"/>
                    </a:cubicBezTo>
                    <a:cubicBezTo>
                      <a:pt x="64" y="68"/>
                      <a:pt x="61" y="71"/>
                      <a:pt x="58" y="71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7" y="71"/>
                      <a:pt x="60" y="74"/>
                      <a:pt x="60" y="77"/>
                    </a:cubicBezTo>
                    <a:cubicBezTo>
                      <a:pt x="60" y="80"/>
                      <a:pt x="57" y="81"/>
                      <a:pt x="54" y="81"/>
                    </a:cubicBezTo>
                    <a:cubicBezTo>
                      <a:pt x="54" y="81"/>
                      <a:pt x="38" y="81"/>
                      <a:pt x="28" y="81"/>
                    </a:cubicBezTo>
                    <a:cubicBezTo>
                      <a:pt x="17" y="81"/>
                      <a:pt x="14" y="79"/>
                      <a:pt x="0" y="77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0" y="43"/>
                      <a:pt x="26" y="25"/>
                      <a:pt x="26" y="9"/>
                    </a:cubicBezTo>
                    <a:cubicBezTo>
                      <a:pt x="26" y="3"/>
                      <a:pt x="35" y="0"/>
                      <a:pt x="38" y="12"/>
                    </a:cubicBezTo>
                    <a:cubicBezTo>
                      <a:pt x="40" y="19"/>
                      <a:pt x="34" y="33"/>
                      <a:pt x="34" y="3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9" y="33"/>
                      <a:pt x="72" y="36"/>
                      <a:pt x="72" y="39"/>
                    </a:cubicBezTo>
                    <a:cubicBezTo>
                      <a:pt x="72" y="42"/>
                      <a:pt x="69" y="47"/>
                      <a:pt x="66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5" y="47"/>
                      <a:pt x="68" y="50"/>
                      <a:pt x="68" y="53"/>
                    </a:cubicBezTo>
                    <a:cubicBezTo>
                      <a:pt x="68" y="56"/>
                      <a:pt x="65" y="59"/>
                      <a:pt x="62" y="59"/>
                    </a:cubicBezTo>
                    <a:cubicBezTo>
                      <a:pt x="58" y="59"/>
                      <a:pt x="58" y="59"/>
                      <a:pt x="58" y="59"/>
                    </a:cubicBezTo>
                  </a:path>
                </a:pathLst>
              </a:cu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68" name="Rectangle 81">
                <a:extLst>
                  <a:ext uri="{FF2B5EF4-FFF2-40B4-BE49-F238E27FC236}">
                    <a16:creationId xmlns:a16="http://schemas.microsoft.com/office/drawing/2014/main" id="{9572257C-F5FE-98DD-9BC4-B2C538D64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2913" y="146050"/>
                <a:ext cx="76200" cy="180975"/>
              </a:xfrm>
              <a:prstGeom prst="rect">
                <a:avLst/>
              </a:prstGeom>
              <a:noFill/>
              <a:ln w="12700" cap="rnd">
                <a:solidFill>
                  <a:srgbClr val="A2041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9" name="Oval 82">
                <a:extLst>
                  <a:ext uri="{FF2B5EF4-FFF2-40B4-BE49-F238E27FC236}">
                    <a16:creationId xmlns:a16="http://schemas.microsoft.com/office/drawing/2014/main" id="{8CDFE1BA-028D-21FA-0341-23C2435C5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1013" y="288925"/>
                <a:ext cx="15875" cy="14288"/>
              </a:xfrm>
              <a:prstGeom prst="ellipse">
                <a:avLst/>
              </a:prstGeom>
              <a:solidFill>
                <a:srgbClr val="A2041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FF59748C-338F-D8C3-ABDC-D2586F715E4B}"/>
              </a:ext>
            </a:extLst>
          </p:cNvPr>
          <p:cNvGrpSpPr/>
          <p:nvPr/>
        </p:nvGrpSpPr>
        <p:grpSpPr>
          <a:xfrm>
            <a:off x="10859614" y="2160620"/>
            <a:ext cx="839091" cy="839091"/>
            <a:chOff x="10859614" y="2160620"/>
            <a:chExt cx="839091" cy="839091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5EEDE5F-67E0-D16A-6214-B549EFDC5483}"/>
                </a:ext>
              </a:extLst>
            </p:cNvPr>
            <p:cNvGrpSpPr/>
            <p:nvPr/>
          </p:nvGrpSpPr>
          <p:grpSpPr>
            <a:xfrm>
              <a:off x="10859614" y="2160620"/>
              <a:ext cx="839091" cy="839091"/>
              <a:chOff x="9277350" y="-850900"/>
              <a:chExt cx="1243118" cy="1243118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B83A72F0-8AA4-3AEC-6412-87D5FB0C0EC0}"/>
                  </a:ext>
                </a:extLst>
              </p:cNvPr>
              <p:cNvSpPr/>
              <p:nvPr/>
            </p:nvSpPr>
            <p:spPr>
              <a:xfrm>
                <a:off x="9277350" y="-850900"/>
                <a:ext cx="1243118" cy="1243118"/>
              </a:xfrm>
              <a:prstGeom prst="ellipse">
                <a:avLst/>
              </a:prstGeom>
              <a:solidFill>
                <a:schemeClr val="bg1">
                  <a:lumMod val="85000"/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5E67544-2AAC-18D0-2AB1-C4E30BAD1297}"/>
                  </a:ext>
                </a:extLst>
              </p:cNvPr>
              <p:cNvSpPr/>
              <p:nvPr/>
            </p:nvSpPr>
            <p:spPr>
              <a:xfrm>
                <a:off x="9499625" y="-628625"/>
                <a:ext cx="798572" cy="798572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96E6C42-7B19-AB82-DB1C-489C598CFAEE}"/>
                </a:ext>
              </a:extLst>
            </p:cNvPr>
            <p:cNvGrpSpPr/>
            <p:nvPr/>
          </p:nvGrpSpPr>
          <p:grpSpPr>
            <a:xfrm>
              <a:off x="11160063" y="2459977"/>
              <a:ext cx="238192" cy="240377"/>
              <a:chOff x="6300788" y="2890838"/>
              <a:chExt cx="346075" cy="349250"/>
            </a:xfrm>
          </p:grpSpPr>
          <p:sp>
            <p:nvSpPr>
              <p:cNvPr id="71" name="Line 25">
                <a:extLst>
                  <a:ext uri="{FF2B5EF4-FFF2-40B4-BE49-F238E27FC236}">
                    <a16:creationId xmlns:a16="http://schemas.microsoft.com/office/drawing/2014/main" id="{DD4822FF-9C4E-8C7F-9FFB-1A3CA59C6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2" name="Line 26">
                <a:extLst>
                  <a:ext uri="{FF2B5EF4-FFF2-40B4-BE49-F238E27FC236}">
                    <a16:creationId xmlns:a16="http://schemas.microsoft.com/office/drawing/2014/main" id="{68607A96-3021-A6C3-914E-0E175E99CF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3978C648-A1B9-BFBF-9889-26A257A2B030}"/>
              </a:ext>
            </a:extLst>
          </p:cNvPr>
          <p:cNvGrpSpPr/>
          <p:nvPr/>
        </p:nvGrpSpPr>
        <p:grpSpPr>
          <a:xfrm>
            <a:off x="10859614" y="3082764"/>
            <a:ext cx="839091" cy="839091"/>
            <a:chOff x="10859614" y="3082764"/>
            <a:chExt cx="839091" cy="839091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068F35A-6908-E93C-F952-DAFCF03984BC}"/>
                </a:ext>
              </a:extLst>
            </p:cNvPr>
            <p:cNvGrpSpPr/>
            <p:nvPr/>
          </p:nvGrpSpPr>
          <p:grpSpPr>
            <a:xfrm>
              <a:off x="10859614" y="3082764"/>
              <a:ext cx="839091" cy="839091"/>
              <a:chOff x="9277350" y="-850900"/>
              <a:chExt cx="1243118" cy="1243118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3537C2E-B0E3-FB24-30C8-F6B00D5AE1D5}"/>
                  </a:ext>
                </a:extLst>
              </p:cNvPr>
              <p:cNvSpPr/>
              <p:nvPr/>
            </p:nvSpPr>
            <p:spPr>
              <a:xfrm>
                <a:off x="9277350" y="-850900"/>
                <a:ext cx="1243118" cy="1243118"/>
              </a:xfrm>
              <a:prstGeom prst="ellipse">
                <a:avLst/>
              </a:prstGeom>
              <a:solidFill>
                <a:schemeClr val="bg1">
                  <a:lumMod val="85000"/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AB1F274A-0238-2F44-7A38-4B2AE15E0203}"/>
                  </a:ext>
                </a:extLst>
              </p:cNvPr>
              <p:cNvSpPr/>
              <p:nvPr/>
            </p:nvSpPr>
            <p:spPr>
              <a:xfrm>
                <a:off x="9499625" y="-628625"/>
                <a:ext cx="798572" cy="798572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896014-FEAF-2428-BF3C-7FBB4E07D0E5}"/>
                </a:ext>
              </a:extLst>
            </p:cNvPr>
            <p:cNvGrpSpPr/>
            <p:nvPr/>
          </p:nvGrpSpPr>
          <p:grpSpPr>
            <a:xfrm>
              <a:off x="11160063" y="3382121"/>
              <a:ext cx="238192" cy="240377"/>
              <a:chOff x="6300788" y="2890838"/>
              <a:chExt cx="346075" cy="349250"/>
            </a:xfrm>
          </p:grpSpPr>
          <p:sp>
            <p:nvSpPr>
              <p:cNvPr id="74" name="Line 25">
                <a:extLst>
                  <a:ext uri="{FF2B5EF4-FFF2-40B4-BE49-F238E27FC236}">
                    <a16:creationId xmlns:a16="http://schemas.microsoft.com/office/drawing/2014/main" id="{81B74483-4EAE-0998-0815-EBB2E657E9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5" name="Line 26">
                <a:extLst>
                  <a:ext uri="{FF2B5EF4-FFF2-40B4-BE49-F238E27FC236}">
                    <a16:creationId xmlns:a16="http://schemas.microsoft.com/office/drawing/2014/main" id="{77FEAE03-EEDA-8C01-96ED-1435B45E80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CD3805B4-5280-7FDD-AA76-D00FF2A1D869}"/>
              </a:ext>
            </a:extLst>
          </p:cNvPr>
          <p:cNvGrpSpPr/>
          <p:nvPr/>
        </p:nvGrpSpPr>
        <p:grpSpPr>
          <a:xfrm>
            <a:off x="10859614" y="4004908"/>
            <a:ext cx="839091" cy="839091"/>
            <a:chOff x="10859614" y="4004908"/>
            <a:chExt cx="839091" cy="839091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3B5BCD1-8FFF-0CD9-7E05-168063D50CC9}"/>
                </a:ext>
              </a:extLst>
            </p:cNvPr>
            <p:cNvGrpSpPr/>
            <p:nvPr/>
          </p:nvGrpSpPr>
          <p:grpSpPr>
            <a:xfrm>
              <a:off x="10859614" y="4004908"/>
              <a:ext cx="839091" cy="839091"/>
              <a:chOff x="9277350" y="-850900"/>
              <a:chExt cx="1243118" cy="1243118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0429F8DC-E016-398A-9B1C-809189E8AAF4}"/>
                  </a:ext>
                </a:extLst>
              </p:cNvPr>
              <p:cNvSpPr/>
              <p:nvPr/>
            </p:nvSpPr>
            <p:spPr>
              <a:xfrm>
                <a:off x="9277350" y="-850900"/>
                <a:ext cx="1243118" cy="1243118"/>
              </a:xfrm>
              <a:prstGeom prst="ellipse">
                <a:avLst/>
              </a:prstGeom>
              <a:solidFill>
                <a:schemeClr val="bg1">
                  <a:lumMod val="85000"/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D3C17DB-5F18-D9DF-5189-18A814D622BD}"/>
                  </a:ext>
                </a:extLst>
              </p:cNvPr>
              <p:cNvSpPr/>
              <p:nvPr/>
            </p:nvSpPr>
            <p:spPr>
              <a:xfrm>
                <a:off x="9499625" y="-628625"/>
                <a:ext cx="798572" cy="798572"/>
              </a:xfrm>
              <a:prstGeom prst="ellipse">
                <a:avLst/>
              </a:prstGeom>
              <a:solidFill>
                <a:srgbClr val="A2041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1069193B-45F3-8EC2-1417-9E67CDC2FB66}"/>
                </a:ext>
              </a:extLst>
            </p:cNvPr>
            <p:cNvGrpSpPr/>
            <p:nvPr/>
          </p:nvGrpSpPr>
          <p:grpSpPr>
            <a:xfrm>
              <a:off x="11160063" y="4304265"/>
              <a:ext cx="238192" cy="240377"/>
              <a:chOff x="6300788" y="2890838"/>
              <a:chExt cx="346075" cy="349250"/>
            </a:xfrm>
          </p:grpSpPr>
          <p:sp>
            <p:nvSpPr>
              <p:cNvPr id="77" name="Line 25">
                <a:extLst>
                  <a:ext uri="{FF2B5EF4-FFF2-40B4-BE49-F238E27FC236}">
                    <a16:creationId xmlns:a16="http://schemas.microsoft.com/office/drawing/2014/main" id="{DE7A463C-6AC2-C071-D6C6-69E5E53BDE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8" name="Line 26">
                <a:extLst>
                  <a:ext uri="{FF2B5EF4-FFF2-40B4-BE49-F238E27FC236}">
                    <a16:creationId xmlns:a16="http://schemas.microsoft.com/office/drawing/2014/main" id="{E5EA9CCB-4C02-BCF9-02E4-BBBA9146A4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00788" y="2890838"/>
                <a:ext cx="346075" cy="349250"/>
              </a:xfrm>
              <a:prstGeom prst="line">
                <a:avLst/>
              </a:prstGeom>
              <a:noFill/>
              <a:ln w="158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65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6</TotalTime>
  <Words>1437</Words>
  <Application>Microsoft Office PowerPoint</Application>
  <PresentationFormat>Widescreen</PresentationFormat>
  <Paragraphs>176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Calibri</vt:lpstr>
      <vt:lpstr>Calibri Light</vt:lpstr>
      <vt:lpstr>Consolas</vt:lpstr>
      <vt:lpstr>Open Sans</vt:lpstr>
      <vt:lpstr>Segoe UI</vt:lpstr>
      <vt:lpstr>Segoe UI </vt:lpstr>
      <vt:lpstr>Segoe UI Light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 23</dc:creator>
  <cp:lastModifiedBy>it 24slides13</cp:lastModifiedBy>
  <cp:revision>19</cp:revision>
  <dcterms:created xsi:type="dcterms:W3CDTF">2022-05-17T07:15:12Z</dcterms:created>
  <dcterms:modified xsi:type="dcterms:W3CDTF">2022-05-30T00:25:24Z</dcterms:modified>
</cp:coreProperties>
</file>